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26"/>
  </p:notesMasterIdLst>
  <p:sldIdLst>
    <p:sldId id="307" r:id="rId3"/>
    <p:sldId id="308" r:id="rId4"/>
    <p:sldId id="332" r:id="rId5"/>
    <p:sldId id="258" r:id="rId6"/>
    <p:sldId id="306" r:id="rId7"/>
    <p:sldId id="275" r:id="rId8"/>
    <p:sldId id="328" r:id="rId9"/>
    <p:sldId id="337" r:id="rId10"/>
    <p:sldId id="338" r:id="rId11"/>
    <p:sldId id="330" r:id="rId12"/>
    <p:sldId id="331" r:id="rId13"/>
    <p:sldId id="341" r:id="rId14"/>
    <p:sldId id="301" r:id="rId15"/>
    <p:sldId id="327" r:id="rId16"/>
    <p:sldId id="309" r:id="rId17"/>
    <p:sldId id="267" r:id="rId18"/>
    <p:sldId id="339" r:id="rId19"/>
    <p:sldId id="340" r:id="rId20"/>
    <p:sldId id="322" r:id="rId21"/>
    <p:sldId id="323" r:id="rId22"/>
    <p:sldId id="329" r:id="rId23"/>
    <p:sldId id="325" r:id="rId24"/>
    <p:sldId id="318" r:id="rId2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0872"/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09" autoAdjust="0"/>
    <p:restoredTop sz="94434" autoAdjust="0"/>
  </p:normalViewPr>
  <p:slideViewPr>
    <p:cSldViewPr>
      <p:cViewPr varScale="1">
        <p:scale>
          <a:sx n="70" d="100"/>
          <a:sy n="70" d="100"/>
        </p:scale>
        <p:origin x="1374" y="4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9198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File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orage of information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875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B8432A1A-823A-425F-8772-7205F288A978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B5830F3E-BC9E-4115-966C-5BF894773023}" type="presOf" srcId="{0BD08EE0-BF9E-4795-9B77-0FBE4D9C3FAA}" destId="{E5C0A0C3-950D-4232-9872-9174C1E989AA}" srcOrd="0" destOrd="0" presId="urn:microsoft.com/office/officeart/2005/8/layout/vList2"/>
    <dgm:cxn modelId="{4E4910E4-E4C4-4FBB-8292-909BEB45174B}" type="presOf" srcId="{528F3EA0-FF05-41BA-8D3E-F7B5C76FE089}" destId="{1C2747ED-0D77-4E6D-821C-76CAEE910644}" srcOrd="0" destOrd="0" presId="urn:microsoft.com/office/officeart/2005/8/layout/vList2"/>
    <dgm:cxn modelId="{0B4E18BF-9764-4F1D-8E6D-CFBF87DC49E1}" type="presParOf" srcId="{B9ED2192-F917-4BE7-A6BE-813D7F382554}" destId="{1C2747ED-0D77-4E6D-821C-76CAEE910644}" srcOrd="0" destOrd="0" presId="urn:microsoft.com/office/officeart/2005/8/layout/vList2"/>
    <dgm:cxn modelId="{89BB07B3-BC0A-43D5-A358-2370E51CB9C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 custT="1"/>
      <dgm:spPr/>
      <dgm:t>
        <a:bodyPr/>
        <a:lstStyle/>
        <a:p>
          <a:r>
            <a:rPr lang="en-IN" sz="2000" dirty="0" smtClean="0"/>
            <a:t>Admin</a:t>
          </a:r>
          <a:endParaRPr lang="en-IN" sz="2000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374760DF-DB23-4CA2-8759-86847150A20D}">
      <dgm:prSet phldrT="[Text]" custT="1"/>
      <dgm:spPr/>
      <dgm:t>
        <a:bodyPr/>
        <a:lstStyle/>
        <a:p>
          <a:r>
            <a:rPr lang="en-IN" sz="2000" dirty="0" smtClean="0"/>
            <a:t>View flight occupancy details</a:t>
          </a:r>
          <a:endParaRPr lang="en-IN" sz="2000" dirty="0"/>
        </a:p>
      </dgm:t>
    </dgm:pt>
    <dgm:pt modelId="{82F82485-D9D4-4AC9-A44B-051857860A87}" type="parTrans" cxnId="{F92A70C9-E938-482F-9FD4-AB714F773723}">
      <dgm:prSet/>
      <dgm:spPr/>
      <dgm:t>
        <a:bodyPr/>
        <a:lstStyle/>
        <a:p>
          <a:endParaRPr lang="en-US"/>
        </a:p>
      </dgm:t>
    </dgm:pt>
    <dgm:pt modelId="{B3AB6E22-FF71-41B9-8C91-C9A7C776B80E}" type="sibTrans" cxnId="{F92A70C9-E938-482F-9FD4-AB714F773723}">
      <dgm:prSet/>
      <dgm:spPr/>
      <dgm:t>
        <a:bodyPr/>
        <a:lstStyle/>
        <a:p>
          <a:endParaRPr lang="en-US"/>
        </a:p>
      </dgm:t>
    </dgm:pt>
    <dgm:pt modelId="{4EE924E0-B9E7-407E-91B8-094E9D2BF038}">
      <dgm:prSet phldrT="[Text]" custScaleX="181768" custRadScaleRad="93677" custRadScaleInc="46861"/>
      <dgm:spPr/>
      <dgm:t>
        <a:bodyPr/>
        <a:lstStyle/>
        <a:p>
          <a:endParaRPr lang="en-US"/>
        </a:p>
      </dgm:t>
    </dgm:pt>
    <dgm:pt modelId="{FD4C3CD4-29A6-4441-A570-3EBC2229642C}" type="parTrans" cxnId="{F6E85532-4CFC-4B60-984B-4FE3C432B5A4}">
      <dgm:prSet custLinFactNeighborX="12765" custLinFactNeighborY="-29940"/>
      <dgm:spPr/>
      <dgm:t>
        <a:bodyPr/>
        <a:lstStyle/>
        <a:p>
          <a:endParaRPr lang="en-US"/>
        </a:p>
      </dgm:t>
    </dgm:pt>
    <dgm:pt modelId="{7D181E42-CFF2-4192-849E-A19DFE1778DE}" type="sibTrans" cxnId="{F6E85532-4CFC-4B60-984B-4FE3C432B5A4}">
      <dgm:prSet/>
      <dgm:spPr/>
      <dgm:t>
        <a:bodyPr/>
        <a:lstStyle/>
        <a:p>
          <a:endParaRPr lang="en-US"/>
        </a:p>
      </dgm:t>
    </dgm:pt>
    <dgm:pt modelId="{D7522397-41B0-4AEE-A726-E4CBFF5FDE65}">
      <dgm:prSet custScaleX="119351" custScaleY="75742" custRadScaleRad="82703" custRadScaleInc="-27953"/>
      <dgm:spPr/>
      <dgm:t>
        <a:bodyPr/>
        <a:lstStyle/>
        <a:p>
          <a:endParaRPr lang="en-US"/>
        </a:p>
      </dgm:t>
    </dgm:pt>
    <dgm:pt modelId="{366866E9-2EDC-405E-8FF2-A5616AAFE77A}" type="parTrans" cxnId="{DA7A054D-DC1F-4BBA-8D12-5ED02AB8A95B}">
      <dgm:prSet custAng="828820" custScaleX="85332" custLinFactNeighborX="-11386" custLinFactNeighborY="-29216"/>
      <dgm:spPr/>
      <dgm:t>
        <a:bodyPr/>
        <a:lstStyle/>
        <a:p>
          <a:endParaRPr lang="en-US"/>
        </a:p>
      </dgm:t>
    </dgm:pt>
    <dgm:pt modelId="{15C76038-92B7-4A9F-89C7-296831FBC22F}" type="sibTrans" cxnId="{DA7A054D-DC1F-4BBA-8D12-5ED02AB8A95B}">
      <dgm:prSet/>
      <dgm:spPr/>
      <dgm:t>
        <a:bodyPr/>
        <a:lstStyle/>
        <a:p>
          <a:endParaRPr lang="en-US"/>
        </a:p>
      </dgm:t>
    </dgm:pt>
    <dgm:pt modelId="{5FA38BA6-DA13-4B90-8FD7-DC3E54FDC4D0}">
      <dgm:prSet custScaleX="119351" custScaleY="75742" custRadScaleRad="82703" custRadScaleInc="-27953"/>
      <dgm:spPr/>
      <dgm:t>
        <a:bodyPr/>
        <a:lstStyle/>
        <a:p>
          <a:endParaRPr lang="en-US"/>
        </a:p>
      </dgm:t>
    </dgm:pt>
    <dgm:pt modelId="{13FD4969-5BF7-48C4-AF2B-F4153FBDD40C}" type="parTrans" cxnId="{16B6A2D1-FDD9-45FC-8D79-AA4340EA336A}">
      <dgm:prSet custAng="828820" custScaleX="85332" custLinFactNeighborX="-11386" custLinFactNeighborY="-29216"/>
      <dgm:spPr/>
      <dgm:t>
        <a:bodyPr/>
        <a:lstStyle/>
        <a:p>
          <a:endParaRPr lang="en-US"/>
        </a:p>
      </dgm:t>
    </dgm:pt>
    <dgm:pt modelId="{D6E94282-1C35-4417-9574-65E1E9F8C282}" type="sibTrans" cxnId="{16B6A2D1-FDD9-45FC-8D79-AA4340EA336A}">
      <dgm:prSet/>
      <dgm:spPr/>
      <dgm:t>
        <a:bodyPr/>
        <a:lstStyle/>
        <a:p>
          <a:endParaRPr lang="en-US"/>
        </a:p>
      </dgm:t>
    </dgm:pt>
    <dgm:pt modelId="{F15F442F-89BE-4CB1-9825-0DFB4CAC40B5}">
      <dgm:prSet custScaleX="119351" custScaleY="75742" custRadScaleRad="82703" custRadScaleInc="-27953"/>
      <dgm:spPr/>
      <dgm:t>
        <a:bodyPr/>
        <a:lstStyle/>
        <a:p>
          <a:endParaRPr lang="en-US"/>
        </a:p>
      </dgm:t>
    </dgm:pt>
    <dgm:pt modelId="{48A76434-B089-4090-BDB9-F441197A3F53}" type="parTrans" cxnId="{44BD458A-7074-49B4-BAE3-B78F75FB54B5}">
      <dgm:prSet custAng="828820" custScaleX="85332" custLinFactNeighborX="-11386" custLinFactNeighborY="-29216"/>
      <dgm:spPr/>
      <dgm:t>
        <a:bodyPr/>
        <a:lstStyle/>
        <a:p>
          <a:endParaRPr lang="en-US"/>
        </a:p>
      </dgm:t>
    </dgm:pt>
    <dgm:pt modelId="{225698FA-919A-4325-AA4E-3B357CCD0B00}" type="sibTrans" cxnId="{44BD458A-7074-49B4-BAE3-B78F75FB54B5}">
      <dgm:prSet/>
      <dgm:spPr/>
      <dgm:t>
        <a:bodyPr/>
        <a:lstStyle/>
        <a:p>
          <a:endParaRPr lang="en-US"/>
        </a:p>
      </dgm:t>
    </dgm:pt>
    <dgm:pt modelId="{D3F5D897-5D37-435F-AF3E-BB949BE4297A}">
      <dgm:prSet custScaleX="119351" custScaleY="75742" custRadScaleRad="82703" custRadScaleInc="-27953"/>
      <dgm:spPr/>
      <dgm:t>
        <a:bodyPr/>
        <a:lstStyle/>
        <a:p>
          <a:endParaRPr lang="en-US"/>
        </a:p>
      </dgm:t>
    </dgm:pt>
    <dgm:pt modelId="{AE0504A7-E5B1-4B21-ADD6-EB4E2570B90A}" type="parTrans" cxnId="{7E949B9E-C3B5-412A-8463-068DAE4FEDE4}">
      <dgm:prSet custAng="828820" custScaleX="85332" custLinFactNeighborX="-11386" custLinFactNeighborY="-29216"/>
      <dgm:spPr/>
      <dgm:t>
        <a:bodyPr/>
        <a:lstStyle/>
        <a:p>
          <a:endParaRPr lang="en-US"/>
        </a:p>
      </dgm:t>
    </dgm:pt>
    <dgm:pt modelId="{4EE94C09-2712-418F-BDEF-A76BFAFA900E}" type="sibTrans" cxnId="{7E949B9E-C3B5-412A-8463-068DAE4FEDE4}">
      <dgm:prSet/>
      <dgm:spPr/>
      <dgm:t>
        <a:bodyPr/>
        <a:lstStyle/>
        <a:p>
          <a:endParaRPr lang="en-US"/>
        </a:p>
      </dgm:t>
    </dgm:pt>
    <dgm:pt modelId="{19236BE4-4229-4DF7-A55B-39167A689506}">
      <dgm:prSet phldrT="[Text]" custScaleX="119351" custScaleY="75742" custRadScaleRad="82703" custRadScaleInc="-27953"/>
      <dgm:spPr/>
      <dgm:t>
        <a:bodyPr/>
        <a:lstStyle/>
        <a:p>
          <a:endParaRPr lang="en-US"/>
        </a:p>
      </dgm:t>
    </dgm:pt>
    <dgm:pt modelId="{14B26EB0-6B5A-40A1-9020-34AA1B5D3FE9}" type="parTrans" cxnId="{512E4B93-3C39-410F-A02D-52B9AD145B4F}">
      <dgm:prSet custAng="828820" custScaleX="85332" custLinFactNeighborX="-11386" custLinFactNeighborY="-29216"/>
      <dgm:spPr/>
      <dgm:t>
        <a:bodyPr/>
        <a:lstStyle/>
        <a:p>
          <a:endParaRPr lang="en-US"/>
        </a:p>
      </dgm:t>
    </dgm:pt>
    <dgm:pt modelId="{3BF1E27E-E3A5-4BA1-92D8-2C15AF0887BB}" type="sibTrans" cxnId="{512E4B93-3C39-410F-A02D-52B9AD145B4F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ScaleX="145776" custScaleY="42408" custLinFactNeighborX="-8654" custLinFactNeighborY="-57805"/>
      <dgm:spPr/>
      <dgm:t>
        <a:bodyPr/>
        <a:lstStyle/>
        <a:p>
          <a:endParaRPr lang="en-US"/>
        </a:p>
      </dgm:t>
    </dgm:pt>
    <dgm:pt modelId="{C2828057-5F65-4707-A76C-46A6588FAB93}" type="pres">
      <dgm:prSet presAssocID="{82F82485-D9D4-4AC9-A44B-051857860A87}" presName="parTrans" presStyleLbl="bgSibTrans2D1" presStyleIdx="0" presStyleCnt="1" custAng="828820" custScaleX="85332" custLinFactNeighborX="-26897" custLinFactNeighborY="-40576"/>
      <dgm:spPr/>
      <dgm:t>
        <a:bodyPr/>
        <a:lstStyle/>
        <a:p>
          <a:endParaRPr lang="en-US"/>
        </a:p>
      </dgm:t>
    </dgm:pt>
    <dgm:pt modelId="{36349CBE-CB7C-48FD-83C3-D60F2DB8658D}" type="pres">
      <dgm:prSet presAssocID="{374760DF-DB23-4CA2-8759-86847150A20D}" presName="node" presStyleLbl="node1" presStyleIdx="0" presStyleCnt="1" custScaleX="119351" custScaleY="75742" custRadScaleRad="91303" custRadScaleInc="-2754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9D05A8D-469B-4DF1-892E-FCE65BE48E0F}" type="presOf" srcId="{82F82485-D9D4-4AC9-A44B-051857860A87}" destId="{C2828057-5F65-4707-A76C-46A6588FAB93}" srcOrd="0" destOrd="0" presId="urn:microsoft.com/office/officeart/2005/8/layout/radial4"/>
    <dgm:cxn modelId="{7E949B9E-C3B5-412A-8463-068DAE4FEDE4}" srcId="{A1BA4038-8694-4208-86E4-E637D37487CE}" destId="{D3F5D897-5D37-435F-AF3E-BB949BE4297A}" srcOrd="6" destOrd="0" parTransId="{AE0504A7-E5B1-4B21-ADD6-EB4E2570B90A}" sibTransId="{4EE94C09-2712-418F-BDEF-A76BFAFA900E}"/>
    <dgm:cxn modelId="{DA7A054D-DC1F-4BBA-8D12-5ED02AB8A95B}" srcId="{A1BA4038-8694-4208-86E4-E637D37487CE}" destId="{D7522397-41B0-4AEE-A726-E4CBFF5FDE65}" srcOrd="3" destOrd="0" parTransId="{366866E9-2EDC-405E-8FF2-A5616AAFE77A}" sibTransId="{15C76038-92B7-4A9F-89C7-296831FBC22F}"/>
    <dgm:cxn modelId="{16B6A2D1-FDD9-45FC-8D79-AA4340EA336A}" srcId="{A1BA4038-8694-4208-86E4-E637D37487CE}" destId="{5FA38BA6-DA13-4B90-8FD7-DC3E54FDC4D0}" srcOrd="4" destOrd="0" parTransId="{13FD4969-5BF7-48C4-AF2B-F4153FBDD40C}" sibTransId="{D6E94282-1C35-4417-9574-65E1E9F8C282}"/>
    <dgm:cxn modelId="{89DC752C-7FFF-475D-BB17-F9BCB4582068}" type="presOf" srcId="{374760DF-DB23-4CA2-8759-86847150A20D}" destId="{36349CBE-CB7C-48FD-83C3-D60F2DB8658D}" srcOrd="0" destOrd="0" presId="urn:microsoft.com/office/officeart/2005/8/layout/radial4"/>
    <dgm:cxn modelId="{C8FE8C33-F053-4F72-A679-865A20ADC25A}" srcId="{A1BA4038-8694-4208-86E4-E637D37487CE}" destId="{1519598A-C7D9-41F3-AD4D-D2A98F8597F0}" srcOrd="1" destOrd="0" parTransId="{490C96F4-303B-442C-AFC2-3E90B07DFEFA}" sibTransId="{F8FB0056-87E2-4E3C-A2A0-79295F437154}"/>
    <dgm:cxn modelId="{F92A70C9-E938-482F-9FD4-AB714F773723}" srcId="{5A7729A2-75B9-4FBC-8844-90F76B1D8C7E}" destId="{374760DF-DB23-4CA2-8759-86847150A20D}" srcOrd="0" destOrd="0" parTransId="{82F82485-D9D4-4AC9-A44B-051857860A87}" sibTransId="{B3AB6E22-FF71-41B9-8C91-C9A7C776B80E}"/>
    <dgm:cxn modelId="{512E4B93-3C39-410F-A02D-52B9AD145B4F}" srcId="{A1BA4038-8694-4208-86E4-E637D37487CE}" destId="{19236BE4-4229-4DF7-A55B-39167A689506}" srcOrd="7" destOrd="0" parTransId="{14B26EB0-6B5A-40A1-9020-34AA1B5D3FE9}" sibTransId="{3BF1E27E-E3A5-4BA1-92D8-2C15AF0887BB}"/>
    <dgm:cxn modelId="{44BD458A-7074-49B4-BAE3-B78F75FB54B5}" srcId="{A1BA4038-8694-4208-86E4-E637D37487CE}" destId="{F15F442F-89BE-4CB1-9825-0DFB4CAC40B5}" srcOrd="5" destOrd="0" parTransId="{48A76434-B089-4090-BDB9-F441197A3F53}" sibTransId="{225698FA-919A-4325-AA4E-3B357CCD0B00}"/>
    <dgm:cxn modelId="{F6E85532-4CFC-4B60-984B-4FE3C432B5A4}" srcId="{A1BA4038-8694-4208-86E4-E637D37487CE}" destId="{4EE924E0-B9E7-407E-91B8-094E9D2BF038}" srcOrd="2" destOrd="0" parTransId="{FD4C3CD4-29A6-4441-A570-3EBC2229642C}" sibTransId="{7D181E42-CFF2-4192-849E-A19DFE1778DE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0048E817-F188-4456-A22D-C9FB59D3F8BD}" type="presOf" srcId="{A1BA4038-8694-4208-86E4-E637D37487CE}" destId="{F529A9FE-3A30-478D-8FB5-0EE20CF3B2CD}" srcOrd="0" destOrd="0" presId="urn:microsoft.com/office/officeart/2005/8/layout/radial4"/>
    <dgm:cxn modelId="{41F88A75-6E9E-4FDE-96F1-CBCB7D3029DF}" type="presOf" srcId="{5A7729A2-75B9-4FBC-8844-90F76B1D8C7E}" destId="{2A0F7F32-F42D-45CF-99FD-97CF4F1B69CF}" srcOrd="0" destOrd="0" presId="urn:microsoft.com/office/officeart/2005/8/layout/radial4"/>
    <dgm:cxn modelId="{DF99038D-AFC5-4BC8-8936-25587AE0C7F4}" type="presParOf" srcId="{F529A9FE-3A30-478D-8FB5-0EE20CF3B2CD}" destId="{2A0F7F32-F42D-45CF-99FD-97CF4F1B69CF}" srcOrd="0" destOrd="0" presId="urn:microsoft.com/office/officeart/2005/8/layout/radial4"/>
    <dgm:cxn modelId="{5A542D42-2172-4052-A4F1-4D23130D9D37}" type="presParOf" srcId="{F529A9FE-3A30-478D-8FB5-0EE20CF3B2CD}" destId="{C2828057-5F65-4707-A76C-46A6588FAB93}" srcOrd="1" destOrd="0" presId="urn:microsoft.com/office/officeart/2005/8/layout/radial4"/>
    <dgm:cxn modelId="{CF8B61D2-9FE0-40E2-8EB0-4DF83CAE5FC6}" type="presParOf" srcId="{F529A9FE-3A30-478D-8FB5-0EE20CF3B2CD}" destId="{36349CBE-CB7C-48FD-83C3-D60F2DB8658D}" srcOrd="2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 custT="1"/>
      <dgm:spPr/>
      <dgm:t>
        <a:bodyPr/>
        <a:lstStyle/>
        <a:p>
          <a:r>
            <a:rPr lang="en-IN" sz="2000" dirty="0" smtClean="0"/>
            <a:t>Executive</a:t>
          </a:r>
          <a:endParaRPr lang="en-IN" sz="2000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 custT="1"/>
      <dgm:spPr/>
      <dgm:t>
        <a:bodyPr/>
        <a:lstStyle/>
        <a:p>
          <a:r>
            <a:rPr lang="en-IN" sz="2000" dirty="0" smtClean="0"/>
            <a:t>Flight based on period</a:t>
          </a:r>
          <a:endParaRPr lang="en-IN" sz="2000" dirty="0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 custT="1"/>
      <dgm:spPr/>
      <dgm:t>
        <a:bodyPr/>
        <a:lstStyle/>
        <a:p>
          <a:r>
            <a:rPr lang="en-IN" sz="2000" dirty="0" smtClean="0"/>
            <a:t>Flight Based on place</a:t>
          </a:r>
          <a:endParaRPr lang="en-IN" sz="2000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C84695D3-AE9A-4501-A621-669274CEC8DD}">
      <dgm:prSet phldrT="[Text]"/>
      <dgm:spPr/>
      <dgm:t>
        <a:bodyPr/>
        <a:lstStyle/>
        <a:p>
          <a:endParaRPr lang="en-IN" dirty="0"/>
        </a:p>
      </dgm:t>
    </dgm:pt>
    <dgm:pt modelId="{D9E2EB92-0DA5-4648-A69C-26B82C1D0905}" type="parTrans" cxnId="{72E41019-23BD-42FC-BD37-03E9662C2428}">
      <dgm:prSet/>
      <dgm:spPr/>
      <dgm:t>
        <a:bodyPr/>
        <a:lstStyle/>
        <a:p>
          <a:endParaRPr lang="en-IN"/>
        </a:p>
      </dgm:t>
    </dgm:pt>
    <dgm:pt modelId="{75687ADF-CBCC-429E-B8E9-43F016C33414}" type="sibTrans" cxnId="{72E41019-23BD-42FC-BD37-03E9662C2428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5EE888C5-C142-4F81-927B-B90721C1F3E4}">
      <dgm:prSet phldrT="[Text]"/>
      <dgm:spPr/>
      <dgm:t>
        <a:bodyPr/>
        <a:lstStyle/>
        <a:p>
          <a:endParaRPr lang="en-IN" dirty="0"/>
        </a:p>
      </dgm:t>
    </dgm:pt>
    <dgm:pt modelId="{D363C5A8-91EB-4D75-8DC9-29E46A5D4A7F}" type="parTrans" cxnId="{E03982C5-3BDB-497A-BCA3-2DC08723031D}">
      <dgm:prSet/>
      <dgm:spPr/>
      <dgm:t>
        <a:bodyPr/>
        <a:lstStyle/>
        <a:p>
          <a:endParaRPr lang="en-US"/>
        </a:p>
      </dgm:t>
    </dgm:pt>
    <dgm:pt modelId="{0DA8AB2B-BB27-4A16-BCAC-A04684A9C39F}" type="sibTrans" cxnId="{E03982C5-3BDB-497A-BCA3-2DC08723031D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ScaleX="158343" custScaleY="67201" custLinFactNeighborX="7205" custLinFactNeighborY="-35173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2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2" custScaleX="220459" custRadScaleRad="65150" custRadScaleInc="-5038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2" custLinFactNeighborX="12765" custLinFactNeighborY="-29940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2" custScaleX="181768" custRadScaleRad="93677" custRadScaleInc="4686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FAC997D2-0AE4-4BF3-BE1A-2F85633313DB}" type="presOf" srcId="{D0C8E95D-CA20-4230-90CD-01C12FD442EB}" destId="{3BC5D919-0D36-4BCD-8CBA-4FD7223A2EAB}" srcOrd="0" destOrd="0" presId="urn:microsoft.com/office/officeart/2005/8/layout/radial4"/>
    <dgm:cxn modelId="{C8FE8C33-F053-4F72-A679-865A20ADC25A}" srcId="{C84695D3-AE9A-4501-A621-669274CEC8DD}" destId="{1519598A-C7D9-41F3-AD4D-D2A98F8597F0}" srcOrd="1" destOrd="0" parTransId="{490C96F4-303B-442C-AFC2-3E90B07DFEFA}" sibTransId="{F8FB0056-87E2-4E3C-A2A0-79295F437154}"/>
    <dgm:cxn modelId="{7D7BFA6D-DDDE-4DC6-B450-BD1EF9D01C09}" type="presOf" srcId="{27810326-169A-46D3-BDD9-A7895E48CE8E}" destId="{6C299B1E-FF91-4041-B597-AC7D7E336DDB}" srcOrd="0" destOrd="0" presId="urn:microsoft.com/office/officeart/2005/8/layout/radial4"/>
    <dgm:cxn modelId="{E03982C5-3BDB-497A-BCA3-2DC08723031D}" srcId="{C84695D3-AE9A-4501-A621-669274CEC8DD}" destId="{5EE888C5-C142-4F81-927B-B90721C1F3E4}" srcOrd="0" destOrd="0" parTransId="{D363C5A8-91EB-4D75-8DC9-29E46A5D4A7F}" sibTransId="{0DA8AB2B-BB27-4A16-BCAC-A04684A9C39F}"/>
    <dgm:cxn modelId="{C4B3E21E-5FEE-43E4-902D-553A911BC2F9}" type="presOf" srcId="{BD9EE668-1606-4F7E-A7BD-8FEDCB65A7D4}" destId="{A7DF65F0-E58E-443E-9565-BE0026763C32}" srcOrd="0" destOrd="0" presId="urn:microsoft.com/office/officeart/2005/8/layout/radial4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B03959B4-D221-48EC-8135-B181ADEA8E24}" type="presOf" srcId="{05DB67F3-24D5-493F-B8D6-D9EFCA9C33FA}" destId="{BC821710-D8D6-44B3-AE70-1FB80AE0FF86}" srcOrd="0" destOrd="0" presId="urn:microsoft.com/office/officeart/2005/8/layout/radial4"/>
    <dgm:cxn modelId="{56CB5D0A-DDF0-43C7-B907-75348E15C33F}" type="presOf" srcId="{A1BA4038-8694-4208-86E4-E637D37487CE}" destId="{F529A9FE-3A30-478D-8FB5-0EE20CF3B2CD}" srcOrd="0" destOrd="0" presId="urn:microsoft.com/office/officeart/2005/8/layout/radial4"/>
    <dgm:cxn modelId="{72E41019-23BD-42FC-BD37-03E9662C2428}" srcId="{A1BA4038-8694-4208-86E4-E637D37487CE}" destId="{C84695D3-AE9A-4501-A621-669274CEC8DD}" srcOrd="1" destOrd="0" parTransId="{D9E2EB92-0DA5-4648-A69C-26B82C1D0905}" sibTransId="{75687ADF-CBCC-429E-B8E9-43F016C33414}"/>
    <dgm:cxn modelId="{A20CEBA4-47ED-4952-996B-8BBB7A8F557D}" type="presOf" srcId="{5A7729A2-75B9-4FBC-8844-90F76B1D8C7E}" destId="{2A0F7F32-F42D-45CF-99FD-97CF4F1B69CF}" srcOrd="0" destOrd="0" presId="urn:microsoft.com/office/officeart/2005/8/layout/radial4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BDFD953B-F1F8-402C-BC56-F5A463F85F4C}" type="presParOf" srcId="{F529A9FE-3A30-478D-8FB5-0EE20CF3B2CD}" destId="{2A0F7F32-F42D-45CF-99FD-97CF4F1B69CF}" srcOrd="0" destOrd="0" presId="urn:microsoft.com/office/officeart/2005/8/layout/radial4"/>
    <dgm:cxn modelId="{29270453-7B26-4D26-BBD6-4F5D36552D66}" type="presParOf" srcId="{F529A9FE-3A30-478D-8FB5-0EE20CF3B2CD}" destId="{6C299B1E-FF91-4041-B597-AC7D7E336DDB}" srcOrd="1" destOrd="0" presId="urn:microsoft.com/office/officeart/2005/8/layout/radial4"/>
    <dgm:cxn modelId="{124E0C94-5A10-4FCB-85DC-6BE67E465D47}" type="presParOf" srcId="{F529A9FE-3A30-478D-8FB5-0EE20CF3B2CD}" destId="{A7DF65F0-E58E-443E-9565-BE0026763C32}" srcOrd="2" destOrd="0" presId="urn:microsoft.com/office/officeart/2005/8/layout/radial4"/>
    <dgm:cxn modelId="{EC02CC26-1EF0-4CE5-B96A-22527EA49E88}" type="presParOf" srcId="{F529A9FE-3A30-478D-8FB5-0EE20CF3B2CD}" destId="{BC821710-D8D6-44B3-AE70-1FB80AE0FF86}" srcOrd="3" destOrd="0" presId="urn:microsoft.com/office/officeart/2005/8/layout/radial4"/>
    <dgm:cxn modelId="{2E6B6192-DA31-4917-91B7-1654151A662C}" type="presParOf" srcId="{F529A9FE-3A30-478D-8FB5-0EE20CF3B2CD}" destId="{3BC5D919-0D36-4BCD-8CBA-4FD7223A2EAB}" srcOrd="4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Quer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improvement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2803" custLinFactNeighborY="-13803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AD8AE850-DE88-47D4-8A3E-CDFEE2141164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A806F339-42D6-488F-B73B-C32784387D9E}" type="presOf" srcId="{0BD08EE0-BF9E-4795-9B77-0FBE4D9C3FAA}" destId="{E5C0A0C3-950D-4232-9872-9174C1E989AA}" srcOrd="0" destOrd="0" presId="urn:microsoft.com/office/officeart/2005/8/layout/vList2"/>
    <dgm:cxn modelId="{09F4A44D-A880-4E47-AE17-530D40517CCB}" type="presOf" srcId="{528F3EA0-FF05-41BA-8D3E-F7B5C76FE089}" destId="{1C2747ED-0D77-4E6D-821C-76CAEE910644}" srcOrd="0" destOrd="0" presId="urn:microsoft.com/office/officeart/2005/8/layout/vList2"/>
    <dgm:cxn modelId="{09639F89-33C6-4CEE-B618-8F4A6C926E34}" type="presParOf" srcId="{B9ED2192-F917-4BE7-A6BE-813D7F382554}" destId="{1C2747ED-0D77-4E6D-821C-76CAEE910644}" srcOrd="0" destOrd="0" presId="urn:microsoft.com/office/officeart/2005/8/layout/vList2"/>
    <dgm:cxn modelId="{9D48C332-60F8-498A-A8D0-A83B0DEB43AD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rror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consistenc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31053" custLinFactNeighborY="-11961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4C39FBC-6033-4124-8AB4-5C59E650AB66}" type="presOf" srcId="{528F3EA0-FF05-41BA-8D3E-F7B5C76FE089}" destId="{1C2747ED-0D77-4E6D-821C-76CAEE910644}" srcOrd="0" destOrd="0" presId="urn:microsoft.com/office/officeart/2005/8/layout/vList2"/>
    <dgm:cxn modelId="{BC561092-4E2B-4670-86CE-E71839A297AE}" type="presOf" srcId="{66487DD0-4D79-4180-AB81-B361B4FACE09}" destId="{B9ED2192-F917-4BE7-A6BE-813D7F382554}" srcOrd="0" destOrd="0" presId="urn:microsoft.com/office/officeart/2005/8/layout/vList2"/>
    <dgm:cxn modelId="{765B1C9F-2A09-401B-AC9F-443E4FF6A5CA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65BFDB75-162C-4FC0-BFC8-D4999C51CAC6}" type="presParOf" srcId="{B9ED2192-F917-4BE7-A6BE-813D7F382554}" destId="{1C2747ED-0D77-4E6D-821C-76CAEE910644}" srcOrd="0" destOrd="0" presId="urn:microsoft.com/office/officeart/2005/8/layout/vList2"/>
    <dgm:cxn modelId="{57488682-8DA0-403F-80E4-D1E2CAB4071E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ystem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Minimum specification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-2169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89B27D9D-F90A-4C43-9602-2BB5FC002FA2}" type="presOf" srcId="{0BD08EE0-BF9E-4795-9B77-0FBE4D9C3FAA}" destId="{E5C0A0C3-950D-4232-9872-9174C1E989AA}" srcOrd="0" destOrd="0" presId="urn:microsoft.com/office/officeart/2005/8/layout/vList2"/>
    <dgm:cxn modelId="{6A5A7997-60E3-4B19-9B45-2F5D0B4C8CA1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96583044-F721-428D-8BB8-611BE716F13D}" type="presOf" srcId="{528F3EA0-FF05-41BA-8D3E-F7B5C76FE089}" destId="{1C2747ED-0D77-4E6D-821C-76CAEE910644}" srcOrd="0" destOrd="0" presId="urn:microsoft.com/office/officeart/2005/8/layout/vList2"/>
    <dgm:cxn modelId="{4D6538F3-4DC1-4DF7-B0FF-24A29F3DEBD0}" type="presParOf" srcId="{B9ED2192-F917-4BE7-A6BE-813D7F382554}" destId="{1C2747ED-0D77-4E6D-821C-76CAEE910644}" srcOrd="0" destOrd="0" presId="urn:microsoft.com/office/officeart/2005/8/layout/vList2"/>
    <dgm:cxn modelId="{666B91FE-00DA-4E8B-BD69-42572398D3C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nvoc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art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14A97BF4-84E4-470B-AB37-71905FC3E903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0592EC2-C7C2-473F-ABC4-22128D02E5EE}" type="presOf" srcId="{66487DD0-4D79-4180-AB81-B361B4FACE09}" destId="{B9ED2192-F917-4BE7-A6BE-813D7F382554}" srcOrd="0" destOrd="0" presId="urn:microsoft.com/office/officeart/2005/8/layout/vList2"/>
    <dgm:cxn modelId="{AD35A513-EB19-40C3-8B90-685FFA0E814E}" type="presOf" srcId="{0BD08EE0-BF9E-4795-9B77-0FBE4D9C3FAA}" destId="{E5C0A0C3-950D-4232-9872-9174C1E989AA}" srcOrd="0" destOrd="0" presId="urn:microsoft.com/office/officeart/2005/8/layout/vList2"/>
    <dgm:cxn modelId="{9FF28AB8-C731-4A85-A7FC-873C72BFF9DB}" type="presParOf" srcId="{B9ED2192-F917-4BE7-A6BE-813D7F382554}" destId="{1C2747ED-0D77-4E6D-821C-76CAEE910644}" srcOrd="0" destOrd="0" presId="urn:microsoft.com/office/officeart/2005/8/layout/vList2"/>
    <dgm:cxn modelId="{59F0DB47-D8AC-4F91-8650-35383D0FEA54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Termin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nd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7167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3D68D77-E432-4550-AC3B-5D08BCB7BD5F}" type="presOf" srcId="{66487DD0-4D79-4180-AB81-B361B4FACE09}" destId="{B9ED2192-F917-4BE7-A6BE-813D7F382554}" srcOrd="0" destOrd="0" presId="urn:microsoft.com/office/officeart/2005/8/layout/vList2"/>
    <dgm:cxn modelId="{3549CD3E-7C22-4C2E-A013-CF328024B98E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FDBDD394-AEE1-463E-ABF8-EAB288E3678C}" type="presOf" srcId="{528F3EA0-FF05-41BA-8D3E-F7B5C76FE089}" destId="{1C2747ED-0D77-4E6D-821C-76CAEE910644}" srcOrd="0" destOrd="0" presId="urn:microsoft.com/office/officeart/2005/8/layout/vList2"/>
    <dgm:cxn modelId="{78E808DC-54EE-4086-96B9-9988F69BD1BE}" type="presParOf" srcId="{B9ED2192-F917-4BE7-A6BE-813D7F382554}" destId="{1C2747ED-0D77-4E6D-821C-76CAEE910644}" srcOrd="0" destOrd="0" presId="urn:microsoft.com/office/officeart/2005/8/layout/vList2"/>
    <dgm:cxn modelId="{C82ED0AB-B79C-402D-89DA-1C005FB88C5B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m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fficiency 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9043" custLinFactNeighborY="-1503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77827008-6AA6-419E-9AC9-4029061E8D33}" type="presOf" srcId="{66487DD0-4D79-4180-AB81-B361B4FACE09}" destId="{B9ED2192-F917-4BE7-A6BE-813D7F382554}" srcOrd="0" destOrd="0" presId="urn:microsoft.com/office/officeart/2005/8/layout/vList2"/>
    <dgm:cxn modelId="{E9560A93-B640-4895-B3CD-468A15897000}" type="presOf" srcId="{528F3EA0-FF05-41BA-8D3E-F7B5C76FE089}" destId="{1C2747ED-0D77-4E6D-821C-76CAEE910644}" srcOrd="0" destOrd="0" presId="urn:microsoft.com/office/officeart/2005/8/layout/vList2"/>
    <dgm:cxn modelId="{843F4E2B-AC1D-41F2-B93A-EA449ABD71BC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89EBEEC7-6062-41D5-988B-9CCE651E068D}" type="presParOf" srcId="{B9ED2192-F917-4BE7-A6BE-813D7F382554}" destId="{1C2747ED-0D77-4E6D-821C-76CAEE910644}" srcOrd="0" destOrd="0" presId="urn:microsoft.com/office/officeart/2005/8/layout/vList2"/>
    <dgm:cxn modelId="{C9B4C065-A621-46ED-96E9-C2737931297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x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User specified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57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93DE3352-3A78-4F94-B7CD-E5428B54C622}" type="presOf" srcId="{528F3EA0-FF05-41BA-8D3E-F7B5C76FE089}" destId="{1C2747ED-0D77-4E6D-821C-76CAEE910644}" srcOrd="0" destOrd="0" presId="urn:microsoft.com/office/officeart/2005/8/layout/vList2"/>
    <dgm:cxn modelId="{5D187D98-C299-4CFF-A327-98F7DEFF663F}" type="presOf" srcId="{0BD08EE0-BF9E-4795-9B77-0FBE4D9C3FAA}" destId="{E5C0A0C3-950D-4232-9872-9174C1E989AA}" srcOrd="0" destOrd="0" presId="urn:microsoft.com/office/officeart/2005/8/layout/vList2"/>
    <dgm:cxn modelId="{989FF4FB-799B-419D-8CA7-AE2BCA3EBC3D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C74F28F-429D-4DC9-994E-CA461B22EF4E}" type="presParOf" srcId="{B9ED2192-F917-4BE7-A6BE-813D7F382554}" destId="{1C2747ED-0D77-4E6D-821C-76CAEE910644}" srcOrd="0" destOrd="0" presId="urn:microsoft.com/office/officeart/2005/8/layout/vList2"/>
    <dgm:cxn modelId="{40841C3C-7DC5-46E1-AE9D-9AA2BD0FC5CA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ecurit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For confidentialit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79055" custLinFactNeighborX="4000" custLinFactNeighborY="-3974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 custLinFactNeighborX="4000" custLinFactNeighborY="79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D91ABFB9-D9AF-44F4-9935-7A81B3CC4E9C}" type="presOf" srcId="{528F3EA0-FF05-41BA-8D3E-F7B5C76FE089}" destId="{1C2747ED-0D77-4E6D-821C-76CAEE910644}" srcOrd="0" destOrd="0" presId="urn:microsoft.com/office/officeart/2005/8/layout/vList2"/>
    <dgm:cxn modelId="{8D05B5A3-A52C-49CB-AC47-34D28D202284}" type="presOf" srcId="{0BD08EE0-BF9E-4795-9B77-0FBE4D9C3FAA}" destId="{E5C0A0C3-950D-4232-9872-9174C1E989AA}" srcOrd="0" destOrd="0" presId="urn:microsoft.com/office/officeart/2005/8/layout/vList2"/>
    <dgm:cxn modelId="{EDE97C2A-6470-4F1C-8DD5-243907CC22C2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DD5C37A0-6566-4DA6-86DA-8A0BF9459D27}" type="presParOf" srcId="{B9ED2192-F917-4BE7-A6BE-813D7F382554}" destId="{1C2747ED-0D77-4E6D-821C-76CAEE910644}" srcOrd="0" destOrd="0" presId="urn:microsoft.com/office/officeart/2005/8/layout/vList2"/>
    <dgm:cxn modelId="{8D7F3F70-13CF-4027-87B8-81E9C4D3BC5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1819"/>
          <a:ext cx="1905000" cy="626043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File Handling</a:t>
          </a:r>
          <a:endParaRPr lang="en-US" sz="2400" kern="1200" dirty="0"/>
        </a:p>
      </dsp:txBody>
      <dsp:txXfrm>
        <a:off x="30561" y="42380"/>
        <a:ext cx="1843878" cy="564921"/>
      </dsp:txXfrm>
    </dsp:sp>
    <dsp:sp modelId="{E5C0A0C3-950D-4232-9872-9174C1E989AA}">
      <dsp:nvSpPr>
        <dsp:cNvPr id="0" name=""/>
        <dsp:cNvSpPr/>
      </dsp:nvSpPr>
      <dsp:spPr>
        <a:xfrm>
          <a:off x="0" y="637863"/>
          <a:ext cx="1905000" cy="59616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Storage of information</a:t>
          </a:r>
          <a:endParaRPr lang="en-US" sz="1900" kern="1200" dirty="0"/>
        </a:p>
      </dsp:txBody>
      <dsp:txXfrm>
        <a:off x="0" y="637863"/>
        <a:ext cx="1905000" cy="596160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F7F32-F42D-45CF-99FD-97CF4F1B69CF}">
      <dsp:nvSpPr>
        <dsp:cNvPr id="0" name=""/>
        <dsp:cNvSpPr/>
      </dsp:nvSpPr>
      <dsp:spPr>
        <a:xfrm>
          <a:off x="517181" y="141239"/>
          <a:ext cx="2572899" cy="7484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000" kern="1200" dirty="0" smtClean="0"/>
            <a:t>Admin</a:t>
          </a:r>
          <a:endParaRPr lang="en-IN" sz="2000" kern="1200" dirty="0"/>
        </a:p>
      </dsp:txBody>
      <dsp:txXfrm>
        <a:off x="893973" y="250852"/>
        <a:ext cx="1819315" cy="529261"/>
      </dsp:txXfrm>
    </dsp:sp>
    <dsp:sp modelId="{C2828057-5F65-4707-A76C-46A6588FAB93}">
      <dsp:nvSpPr>
        <dsp:cNvPr id="0" name=""/>
        <dsp:cNvSpPr/>
      </dsp:nvSpPr>
      <dsp:spPr>
        <a:xfrm rot="8268493">
          <a:off x="610025" y="861541"/>
          <a:ext cx="801005" cy="50301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6349CBE-CB7C-48FD-83C3-D60F2DB8658D}">
      <dsp:nvSpPr>
        <dsp:cNvPr id="0" name=""/>
        <dsp:cNvSpPr/>
      </dsp:nvSpPr>
      <dsp:spPr>
        <a:xfrm>
          <a:off x="0" y="1198291"/>
          <a:ext cx="2001181" cy="101598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000" kern="1200" dirty="0" smtClean="0"/>
            <a:t>View flight occupancy details</a:t>
          </a:r>
          <a:endParaRPr lang="en-IN" sz="2000" kern="1200" dirty="0"/>
        </a:p>
      </dsp:txBody>
      <dsp:txXfrm>
        <a:off x="29757" y="1228048"/>
        <a:ext cx="1941667" cy="956470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F7F32-F42D-45CF-99FD-97CF4F1B69CF}">
      <dsp:nvSpPr>
        <dsp:cNvPr id="0" name=""/>
        <dsp:cNvSpPr/>
      </dsp:nvSpPr>
      <dsp:spPr>
        <a:xfrm>
          <a:off x="1054356" y="308017"/>
          <a:ext cx="1547460" cy="65674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000" kern="1200" dirty="0" smtClean="0"/>
            <a:t>Executive</a:t>
          </a:r>
          <a:endParaRPr lang="en-IN" sz="2000" kern="1200" dirty="0"/>
        </a:p>
      </dsp:txBody>
      <dsp:txXfrm>
        <a:off x="1280976" y="404195"/>
        <a:ext cx="1094220" cy="464388"/>
      </dsp:txXfrm>
    </dsp:sp>
    <dsp:sp modelId="{6C299B1E-FF91-4041-B597-AC7D7E336DDB}">
      <dsp:nvSpPr>
        <dsp:cNvPr id="0" name=""/>
        <dsp:cNvSpPr/>
      </dsp:nvSpPr>
      <dsp:spPr>
        <a:xfrm rot="8024101">
          <a:off x="635343" y="1211866"/>
          <a:ext cx="1017774" cy="27852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7DF65F0-E58E-443E-9565-BE0026763C32}">
      <dsp:nvSpPr>
        <dsp:cNvPr id="0" name=""/>
        <dsp:cNvSpPr/>
      </dsp:nvSpPr>
      <dsp:spPr>
        <a:xfrm>
          <a:off x="-230967" y="1347455"/>
          <a:ext cx="2046784" cy="74273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000" kern="1200" dirty="0" smtClean="0"/>
            <a:t>Flight based on period</a:t>
          </a:r>
          <a:endParaRPr lang="en-IN" sz="2000" kern="1200" dirty="0"/>
        </a:p>
      </dsp:txBody>
      <dsp:txXfrm>
        <a:off x="-209213" y="1369209"/>
        <a:ext cx="2003276" cy="699227"/>
      </dsp:txXfrm>
    </dsp:sp>
    <dsp:sp modelId="{BC821710-D8D6-44B3-AE70-1FB80AE0FF86}">
      <dsp:nvSpPr>
        <dsp:cNvPr id="0" name=""/>
        <dsp:cNvSpPr/>
      </dsp:nvSpPr>
      <dsp:spPr>
        <a:xfrm rot="3033206">
          <a:off x="2066435" y="1131203"/>
          <a:ext cx="945247" cy="27852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BC5D919-0D36-4BCD-8CBA-4FD7223A2EAB}">
      <dsp:nvSpPr>
        <dsp:cNvPr id="0" name=""/>
        <dsp:cNvSpPr/>
      </dsp:nvSpPr>
      <dsp:spPr>
        <a:xfrm>
          <a:off x="1874899" y="1347457"/>
          <a:ext cx="1687569" cy="74273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000" kern="1200" dirty="0" smtClean="0"/>
            <a:t>Flight Based on place</a:t>
          </a:r>
          <a:endParaRPr lang="en-IN" sz="2000" kern="1200" dirty="0"/>
        </a:p>
      </dsp:txBody>
      <dsp:txXfrm>
        <a:off x="1896653" y="1369211"/>
        <a:ext cx="1644061" cy="69922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55272"/>
          <a:ext cx="2209800" cy="421772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Query</a:t>
          </a:r>
          <a:endParaRPr lang="en-US" sz="1700" kern="1200" dirty="0"/>
        </a:p>
      </dsp:txBody>
      <dsp:txXfrm>
        <a:off x="20589" y="275861"/>
        <a:ext cx="2168622" cy="380594"/>
      </dsp:txXfrm>
    </dsp:sp>
    <dsp:sp modelId="{E5C0A0C3-950D-4232-9872-9174C1E989AA}">
      <dsp:nvSpPr>
        <dsp:cNvPr id="0" name=""/>
        <dsp:cNvSpPr/>
      </dsp:nvSpPr>
      <dsp:spPr>
        <a:xfrm>
          <a:off x="0" y="741046"/>
          <a:ext cx="2209800" cy="46368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1590" rIns="120904" bIns="21590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300" kern="1200" dirty="0" smtClean="0"/>
            <a:t>improvements</a:t>
          </a:r>
          <a:endParaRPr lang="en-US" sz="1300" kern="1200" dirty="0"/>
        </a:p>
      </dsp:txBody>
      <dsp:txXfrm>
        <a:off x="0" y="741046"/>
        <a:ext cx="2209800" cy="46368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76200"/>
          <a:ext cx="1905000" cy="691527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Error Handling</a:t>
          </a:r>
          <a:endParaRPr lang="en-US" sz="2200" kern="1200" dirty="0"/>
        </a:p>
      </dsp:txBody>
      <dsp:txXfrm>
        <a:off x="33758" y="109958"/>
        <a:ext cx="1837484" cy="624011"/>
      </dsp:txXfrm>
    </dsp:sp>
    <dsp:sp modelId="{E5C0A0C3-950D-4232-9872-9174C1E989AA}">
      <dsp:nvSpPr>
        <dsp:cNvPr id="0" name=""/>
        <dsp:cNvSpPr/>
      </dsp:nvSpPr>
      <dsp:spPr>
        <a:xfrm>
          <a:off x="0" y="811303"/>
          <a:ext cx="1905000" cy="36432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700" kern="1200" dirty="0" smtClean="0"/>
            <a:t>consistency</a:t>
          </a:r>
          <a:endParaRPr lang="en-US" sz="1700" kern="1200" dirty="0"/>
        </a:p>
      </dsp:txBody>
      <dsp:txXfrm>
        <a:off x="0" y="811303"/>
        <a:ext cx="1905000" cy="36432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62361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System</a:t>
          </a:r>
          <a:endParaRPr lang="en-US" sz="2600" kern="1200" dirty="0"/>
        </a:p>
      </dsp:txBody>
      <dsp:txXfrm>
        <a:off x="30442" y="30442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Minimum specifications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00342"/>
          <a:ext cx="1905000" cy="647595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Invocation</a:t>
          </a:r>
          <a:endParaRPr lang="en-US" sz="2700" kern="1200" dirty="0"/>
        </a:p>
      </dsp:txBody>
      <dsp:txXfrm>
        <a:off x="31613" y="131955"/>
        <a:ext cx="1841774" cy="584369"/>
      </dsp:txXfrm>
    </dsp:sp>
    <dsp:sp modelId="{E5C0A0C3-950D-4232-9872-9174C1E989AA}">
      <dsp:nvSpPr>
        <dsp:cNvPr id="0" name=""/>
        <dsp:cNvSpPr/>
      </dsp:nvSpPr>
      <dsp:spPr>
        <a:xfrm>
          <a:off x="0" y="747937"/>
          <a:ext cx="1905000" cy="44712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4290" rIns="192024" bIns="3429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100" kern="1200" dirty="0" smtClean="0"/>
            <a:t>Start process</a:t>
          </a:r>
          <a:endParaRPr lang="en-US" sz="2100" kern="1200" dirty="0"/>
        </a:p>
      </dsp:txBody>
      <dsp:txXfrm>
        <a:off x="0" y="747937"/>
        <a:ext cx="1905000" cy="44712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5099"/>
          <a:ext cx="1905000" cy="64260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Termination</a:t>
          </a:r>
          <a:endParaRPr lang="en-US" sz="2500" kern="1200" dirty="0"/>
        </a:p>
      </dsp:txBody>
      <dsp:txXfrm>
        <a:off x="31369" y="36468"/>
        <a:ext cx="1842262" cy="579862"/>
      </dsp:txXfrm>
    </dsp:sp>
    <dsp:sp modelId="{E5C0A0C3-950D-4232-9872-9174C1E989AA}">
      <dsp:nvSpPr>
        <dsp:cNvPr id="0" name=""/>
        <dsp:cNvSpPr/>
      </dsp:nvSpPr>
      <dsp:spPr>
        <a:xfrm>
          <a:off x="0" y="647700"/>
          <a:ext cx="1905000" cy="41400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End process</a:t>
          </a:r>
          <a:endParaRPr lang="en-US" sz="2000" kern="1200" dirty="0"/>
        </a:p>
      </dsp:txBody>
      <dsp:txXfrm>
        <a:off x="0" y="647700"/>
        <a:ext cx="1905000" cy="41400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579598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Implicit</a:t>
          </a:r>
          <a:endParaRPr lang="en-US" sz="2400" kern="1200" dirty="0"/>
        </a:p>
      </dsp:txBody>
      <dsp:txXfrm>
        <a:off x="28294" y="28294"/>
        <a:ext cx="1848412" cy="523010"/>
      </dsp:txXfrm>
    </dsp:sp>
    <dsp:sp modelId="{E5C0A0C3-950D-4232-9872-9174C1E989AA}">
      <dsp:nvSpPr>
        <dsp:cNvPr id="0" name=""/>
        <dsp:cNvSpPr/>
      </dsp:nvSpPr>
      <dsp:spPr>
        <a:xfrm>
          <a:off x="0" y="647699"/>
          <a:ext cx="1905000" cy="57960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Efficiency </a:t>
          </a:r>
          <a:endParaRPr lang="en-US" sz="1900" kern="1200" dirty="0"/>
        </a:p>
      </dsp:txBody>
      <dsp:txXfrm>
        <a:off x="0" y="647699"/>
        <a:ext cx="1905000" cy="57960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3307"/>
          <a:ext cx="1905000" cy="62361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Explicit</a:t>
          </a:r>
          <a:endParaRPr lang="en-US" sz="2600" kern="1200" dirty="0"/>
        </a:p>
      </dsp:txBody>
      <dsp:txXfrm>
        <a:off x="30442" y="53749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User specified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455072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Security</a:t>
          </a:r>
          <a:endParaRPr lang="en-US" sz="1900" kern="1200" dirty="0"/>
        </a:p>
      </dsp:txBody>
      <dsp:txXfrm>
        <a:off x="22215" y="22215"/>
        <a:ext cx="1860570" cy="410642"/>
      </dsp:txXfrm>
    </dsp:sp>
    <dsp:sp modelId="{E5C0A0C3-950D-4232-9872-9174C1E989AA}">
      <dsp:nvSpPr>
        <dsp:cNvPr id="0" name=""/>
        <dsp:cNvSpPr/>
      </dsp:nvSpPr>
      <dsp:spPr>
        <a:xfrm>
          <a:off x="0" y="581738"/>
          <a:ext cx="1905000" cy="59616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500" kern="1200" dirty="0" smtClean="0"/>
            <a:t>For confidentiality</a:t>
          </a:r>
          <a:endParaRPr lang="en-US" sz="1500" kern="1200" dirty="0"/>
        </a:p>
      </dsp:txBody>
      <dsp:txXfrm>
        <a:off x="0" y="581738"/>
        <a:ext cx="1905000" cy="5961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7/23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641625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7/23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7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July 23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ndafile:8081/AirlineReservationSystem/loginValidate.obj" TargetMode="External"/><Relationship Id="rId7" Type="http://schemas.openxmlformats.org/officeDocument/2006/relationships/hyperlink" Target="http://ndafile:8081/AirlineReservationSystem/contact.jsp" TargetMode="External"/><Relationship Id="rId2" Type="http://schemas.openxmlformats.org/officeDocument/2006/relationships/hyperlink" Target="AMS_ManagerLogin.docx" TargetMode="Externa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://ndafile:8081/AirlineReservationSystem/bookTicket.obj" TargetMode="External"/><Relationship Id="rId5" Type="http://schemas.openxmlformats.org/officeDocument/2006/relationships/hyperlink" Target="http://ndafile:8081/AirlineReservationSystem/book1.obj?traveller=5&amp;clas=bussiness&amp;sub=SUBMIT" TargetMode="External"/><Relationship Id="rId4" Type="http://schemas.openxmlformats.org/officeDocument/2006/relationships/hyperlink" Target="http://ndafile:8081/AirlineReservationSystem/View.obj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0.xml"/><Relationship Id="rId13" Type="http://schemas.microsoft.com/office/2007/relationships/diagramDrawing" Target="../diagrams/drawing11.xml"/><Relationship Id="rId3" Type="http://schemas.openxmlformats.org/officeDocument/2006/relationships/hyperlink" Target="TestCase(ARS).xlsx" TargetMode="External"/><Relationship Id="rId7" Type="http://schemas.openxmlformats.org/officeDocument/2006/relationships/diagramColors" Target="../diagrams/colors10.xml"/><Relationship Id="rId12" Type="http://schemas.openxmlformats.org/officeDocument/2006/relationships/diagramColors" Target="../diagrams/colors1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diagramQuickStyle" Target="../diagrams/quickStyle10.xml"/><Relationship Id="rId11" Type="http://schemas.openxmlformats.org/officeDocument/2006/relationships/diagramQuickStyle" Target="../diagrams/quickStyle11.xml"/><Relationship Id="rId5" Type="http://schemas.openxmlformats.org/officeDocument/2006/relationships/diagramLayout" Target="../diagrams/layout10.xml"/><Relationship Id="rId10" Type="http://schemas.openxmlformats.org/officeDocument/2006/relationships/diagramLayout" Target="../diagrams/layout11.xml"/><Relationship Id="rId4" Type="http://schemas.openxmlformats.org/officeDocument/2006/relationships/diagramData" Target="../diagrams/data10.xml"/><Relationship Id="rId9" Type="http://schemas.openxmlformats.org/officeDocument/2006/relationships/diagramData" Target="../diagrams/data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://ndafile:8081/AirlineReservationSystem/" TargetMode="Externa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Defect%20Report(ARS).xlsx" TargetMode="Externa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18" Type="http://schemas.openxmlformats.org/officeDocument/2006/relationships/diagramData" Target="../diagrams/data4.xml"/><Relationship Id="rId26" Type="http://schemas.openxmlformats.org/officeDocument/2006/relationships/diagramColors" Target="../diagrams/colors5.xml"/><Relationship Id="rId39" Type="http://schemas.openxmlformats.org/officeDocument/2006/relationships/diagramLayout" Target="../diagrams/layout8.xml"/><Relationship Id="rId3" Type="http://schemas.openxmlformats.org/officeDocument/2006/relationships/diagramData" Target="../diagrams/data1.xml"/><Relationship Id="rId21" Type="http://schemas.openxmlformats.org/officeDocument/2006/relationships/diagramColors" Target="../diagrams/colors4.xml"/><Relationship Id="rId34" Type="http://schemas.openxmlformats.org/officeDocument/2006/relationships/diagramLayout" Target="../diagrams/layout7.xml"/><Relationship Id="rId42" Type="http://schemas.microsoft.com/office/2007/relationships/diagramDrawing" Target="../diagrams/drawing8.xml"/><Relationship Id="rId47" Type="http://schemas.microsoft.com/office/2007/relationships/diagramDrawing" Target="../diagrams/drawing9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5" Type="http://schemas.openxmlformats.org/officeDocument/2006/relationships/diagramQuickStyle" Target="../diagrams/quickStyle5.xml"/><Relationship Id="rId33" Type="http://schemas.openxmlformats.org/officeDocument/2006/relationships/diagramData" Target="../diagrams/data7.xml"/><Relationship Id="rId38" Type="http://schemas.openxmlformats.org/officeDocument/2006/relationships/diagramData" Target="../diagrams/data8.xml"/><Relationship Id="rId46" Type="http://schemas.openxmlformats.org/officeDocument/2006/relationships/diagramColors" Target="../diagrams/colors9.xml"/><Relationship Id="rId2" Type="http://schemas.openxmlformats.org/officeDocument/2006/relationships/notesSlide" Target="../notesSlides/notesSlide3.xml"/><Relationship Id="rId16" Type="http://schemas.openxmlformats.org/officeDocument/2006/relationships/diagramColors" Target="../diagrams/colors3.xml"/><Relationship Id="rId20" Type="http://schemas.openxmlformats.org/officeDocument/2006/relationships/diagramQuickStyle" Target="../diagrams/quickStyle4.xml"/><Relationship Id="rId29" Type="http://schemas.openxmlformats.org/officeDocument/2006/relationships/diagramLayout" Target="../diagrams/layout6.xml"/><Relationship Id="rId41" Type="http://schemas.openxmlformats.org/officeDocument/2006/relationships/diagramColors" Target="../diagrams/colors8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24" Type="http://schemas.openxmlformats.org/officeDocument/2006/relationships/diagramLayout" Target="../diagrams/layout5.xml"/><Relationship Id="rId32" Type="http://schemas.microsoft.com/office/2007/relationships/diagramDrawing" Target="../diagrams/drawing6.xml"/><Relationship Id="rId37" Type="http://schemas.microsoft.com/office/2007/relationships/diagramDrawing" Target="../diagrams/drawing7.xml"/><Relationship Id="rId40" Type="http://schemas.openxmlformats.org/officeDocument/2006/relationships/diagramQuickStyle" Target="../diagrams/quickStyle8.xml"/><Relationship Id="rId45" Type="http://schemas.openxmlformats.org/officeDocument/2006/relationships/diagramQuickStyle" Target="../diagrams/quickStyle9.xml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23" Type="http://schemas.openxmlformats.org/officeDocument/2006/relationships/diagramData" Target="../diagrams/data5.xml"/><Relationship Id="rId28" Type="http://schemas.openxmlformats.org/officeDocument/2006/relationships/diagramData" Target="../diagrams/data6.xml"/><Relationship Id="rId36" Type="http://schemas.openxmlformats.org/officeDocument/2006/relationships/diagramColors" Target="../diagrams/colors7.xml"/><Relationship Id="rId10" Type="http://schemas.openxmlformats.org/officeDocument/2006/relationships/diagramQuickStyle" Target="../diagrams/quickStyle2.xml"/><Relationship Id="rId19" Type="http://schemas.openxmlformats.org/officeDocument/2006/relationships/diagramLayout" Target="../diagrams/layout4.xml"/><Relationship Id="rId31" Type="http://schemas.openxmlformats.org/officeDocument/2006/relationships/diagramColors" Target="../diagrams/colors6.xml"/><Relationship Id="rId44" Type="http://schemas.openxmlformats.org/officeDocument/2006/relationships/diagramLayout" Target="../diagrams/layout9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Relationship Id="rId22" Type="http://schemas.microsoft.com/office/2007/relationships/diagramDrawing" Target="../diagrams/drawing4.xml"/><Relationship Id="rId27" Type="http://schemas.microsoft.com/office/2007/relationships/diagramDrawing" Target="../diagrams/drawing5.xml"/><Relationship Id="rId30" Type="http://schemas.openxmlformats.org/officeDocument/2006/relationships/diagramQuickStyle" Target="../diagrams/quickStyle6.xml"/><Relationship Id="rId35" Type="http://schemas.openxmlformats.org/officeDocument/2006/relationships/diagramQuickStyle" Target="../diagrams/quickStyle7.xml"/><Relationship Id="rId43" Type="http://schemas.openxmlformats.org/officeDocument/2006/relationships/diagramData" Target="../diagrams/data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RVFD%20%20(ARS).xlsx" TargetMode="Externa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Use%20Case(ARS).docx" TargetMode="Externa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144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4400" b="1">
                <a:solidFill>
                  <a:schemeClr val="bg1"/>
                </a:solidFill>
                <a:latin typeface="Candara" pitchFamily="34" charset="0"/>
              </a:rPr>
              <a:t>Airline Reservation System </a:t>
            </a:r>
          </a:p>
          <a:p>
            <a:pPr algn="ctr" eaLnBrk="1" hangingPunct="1"/>
            <a:r>
              <a:rPr lang="en-US" sz="4400" b="1">
                <a:solidFill>
                  <a:schemeClr val="bg1"/>
                </a:solidFill>
                <a:latin typeface="Candara" pitchFamily="34" charset="0"/>
              </a:rPr>
              <a:t>(ARS)</a:t>
            </a: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pic>
        <p:nvPicPr>
          <p:cNvPr id="4" name="Content Placeholder 3" descr="C:\Users\prasatho\Documents\My Received Files\Executive.jpg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5900" y="2229828"/>
            <a:ext cx="5867400" cy="2666999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angle 4"/>
          <p:cNvSpPr/>
          <p:nvPr/>
        </p:nvSpPr>
        <p:spPr>
          <a:xfrm>
            <a:off x="609600" y="1313418"/>
            <a:ext cx="2768707" cy="40504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457200">
              <a:lnSpc>
                <a:spcPct val="107000"/>
              </a:lnSpc>
              <a:spcBef>
                <a:spcPts val="1200"/>
              </a:spcBef>
            </a:pPr>
            <a:r>
              <a:rPr lang="en-GB" sz="2000" b="1" kern="0" cap="small" dirty="0">
                <a:solidFill>
                  <a:srgbClr val="00B0F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irline Executive</a:t>
            </a:r>
            <a:endParaRPr lang="en-US" sz="3200" b="1" kern="0" dirty="0">
              <a:solidFill>
                <a:srgbClr val="00B0F0"/>
              </a:solidFill>
              <a:effectLst/>
              <a:latin typeface="Calibri Light" panose="020F03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190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21266"/>
            <a:ext cx="8229600" cy="792162"/>
          </a:xfrm>
        </p:spPr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pic>
        <p:nvPicPr>
          <p:cNvPr id="3" name="Picture 2" descr="C:\Users\prasatho\Documents\My Received Files\Admin.jp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" y="1894840"/>
            <a:ext cx="7086600" cy="366776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/>
          <p:cNvSpPr/>
          <p:nvPr/>
        </p:nvSpPr>
        <p:spPr>
          <a:xfrm>
            <a:off x="762000" y="1188219"/>
            <a:ext cx="1782860" cy="5927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457200">
              <a:lnSpc>
                <a:spcPct val="107000"/>
              </a:lnSpc>
              <a:spcBef>
                <a:spcPts val="1200"/>
              </a:spcBef>
            </a:pPr>
            <a:r>
              <a:rPr lang="en-GB" sz="3200" b="1" kern="0" cap="small" dirty="0">
                <a:solidFill>
                  <a:srgbClr val="00B0F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dmin</a:t>
            </a:r>
            <a:endParaRPr lang="en-US" sz="4400" b="1" kern="0" dirty="0">
              <a:solidFill>
                <a:srgbClr val="00B0F0"/>
              </a:solidFill>
              <a:effectLst/>
              <a:latin typeface="Calibri Light" panose="020F03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0229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ASE HYPERLIN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Login:</a:t>
            </a:r>
            <a:endParaRPr lang="en-US" dirty="0" smtClean="0">
              <a:solidFill>
                <a:schemeClr val="tx1"/>
              </a:solidFill>
              <a:hlinkClick r:id="rId2" action="ppaction://hlinkfile"/>
            </a:endParaRPr>
          </a:p>
          <a:p>
            <a:r>
              <a:rPr lang="en-US" b="0" u="sng" dirty="0">
                <a:solidFill>
                  <a:srgbClr val="0070C0"/>
                </a:solidFill>
                <a:hlinkClick r:id="rId3"/>
              </a:rPr>
              <a:t>http://</a:t>
            </a:r>
            <a:r>
              <a:rPr lang="en-US" b="0" u="sng" dirty="0" smtClean="0">
                <a:solidFill>
                  <a:srgbClr val="0070C0"/>
                </a:solidFill>
                <a:hlinkClick r:id="rId3"/>
              </a:rPr>
              <a:t>ndafile:8081/AirlineReservationSystem/loginValidate.obj</a:t>
            </a:r>
            <a:endParaRPr lang="en-US" b="0" u="sng" dirty="0" smtClean="0">
              <a:solidFill>
                <a:srgbClr val="0070C0"/>
              </a:solidFill>
            </a:endParaRPr>
          </a:p>
          <a:p>
            <a:endParaRPr lang="en-US" b="0" u="sng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1"/>
                </a:solidFill>
              </a:rPr>
              <a:t>Functionalities:</a:t>
            </a:r>
          </a:p>
          <a:p>
            <a:r>
              <a:rPr lang="en-US" b="0" dirty="0">
                <a:solidFill>
                  <a:schemeClr val="tx1"/>
                </a:solidFill>
                <a:hlinkClick r:id="rId4"/>
              </a:rPr>
              <a:t>http://</a:t>
            </a:r>
            <a:r>
              <a:rPr lang="en-US" b="0" dirty="0" smtClean="0">
                <a:solidFill>
                  <a:schemeClr val="tx1"/>
                </a:solidFill>
                <a:hlinkClick r:id="rId4"/>
              </a:rPr>
              <a:t>ndafile:8081/AirlineReservationSystem/View.obj</a:t>
            </a: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>
                <a:solidFill>
                  <a:schemeClr val="tx1"/>
                </a:solidFill>
                <a:hlinkClick r:id="rId5"/>
              </a:rPr>
              <a:t>http://</a:t>
            </a:r>
            <a:r>
              <a:rPr lang="en-US" b="0" dirty="0" smtClean="0">
                <a:solidFill>
                  <a:schemeClr val="tx1"/>
                </a:solidFill>
                <a:hlinkClick r:id="rId5"/>
              </a:rPr>
              <a:t>ndafile:8081/AirlineReservationSystem/book1.obj?traveller=5&amp;clas=bussiness&amp;sub=SUBMIT</a:t>
            </a: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>
                <a:solidFill>
                  <a:schemeClr val="tx1"/>
                </a:solidFill>
                <a:hlinkClick r:id="rId6"/>
              </a:rPr>
              <a:t>http://</a:t>
            </a:r>
            <a:r>
              <a:rPr lang="en-US" b="0" dirty="0" smtClean="0">
                <a:solidFill>
                  <a:schemeClr val="tx1"/>
                </a:solidFill>
                <a:hlinkClick r:id="rId6"/>
              </a:rPr>
              <a:t>ndafile:8081/AirlineReservationSystem/bookTicket.obj</a:t>
            </a: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>
                <a:solidFill>
                  <a:schemeClr val="tx1"/>
                </a:solidFill>
                <a:hlinkClick r:id="rId7"/>
              </a:rPr>
              <a:t>http://</a:t>
            </a:r>
            <a:r>
              <a:rPr lang="en-US" b="0" dirty="0" smtClean="0">
                <a:solidFill>
                  <a:schemeClr val="tx1"/>
                </a:solidFill>
                <a:hlinkClick r:id="rId7"/>
              </a:rPr>
              <a:t>ndafile:8081/AirlineReservationSystem/contact.jsp</a:t>
            </a:r>
            <a:endParaRPr lang="en-US" b="0" dirty="0" smtClean="0">
              <a:solidFill>
                <a:schemeClr val="tx1"/>
              </a:solidFill>
            </a:endParaRPr>
          </a:p>
          <a:p>
            <a:endParaRPr lang="en-US" b="0" dirty="0" smtClean="0">
              <a:solidFill>
                <a:schemeClr val="tx1"/>
              </a:solidFill>
            </a:endParaRPr>
          </a:p>
          <a:p>
            <a:endParaRPr lang="en-US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b="0" dirty="0" smtClean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003929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>
                <a:solidFill>
                  <a:schemeClr val="tx1"/>
                </a:solidFill>
              </a:rPr>
              <a:t>A test case is a set of conditions or variables under which a tester will determine whether a system under test satisfies requirements or works correctl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e process of developing test cases can also help find problems in the requirements or design of an application.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8684" y="152400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41193" y="176773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-34119" y="6152952"/>
            <a:ext cx="7772400" cy="840978"/>
          </a:xfrm>
        </p:spPr>
        <p:txBody>
          <a:bodyPr>
            <a:normAutofit/>
          </a:bodyPr>
          <a:lstStyle/>
          <a:p>
            <a:r>
              <a:rPr lang="en-US" sz="2800" dirty="0" smtClean="0"/>
              <a:t>Link : </a:t>
            </a:r>
            <a:r>
              <a:rPr lang="en-US" sz="2000" dirty="0" smtClean="0">
                <a:hlinkClick r:id="rId3" action="ppaction://hlinkfile"/>
              </a:rPr>
              <a:t>TestCase(ARS).xlsx</a:t>
            </a:r>
            <a:endParaRPr lang="en-US" sz="2800" b="0" dirty="0"/>
          </a:p>
        </p:txBody>
      </p:sp>
      <p:sp>
        <p:nvSpPr>
          <p:cNvPr id="10" name="Content Placeholder 5"/>
          <p:cNvSpPr>
            <a:spLocks noGrp="1"/>
          </p:cNvSpPr>
          <p:nvPr>
            <p:ph type="body" idx="1"/>
          </p:nvPr>
        </p:nvSpPr>
        <p:spPr>
          <a:xfrm>
            <a:off x="2373552" y="5137043"/>
            <a:ext cx="7772400" cy="1500187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  </a:t>
            </a:r>
            <a:endParaRPr lang="en-US" dirty="0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4009380407"/>
              </p:ext>
            </p:extLst>
          </p:nvPr>
        </p:nvGraphicFramePr>
        <p:xfrm>
          <a:off x="4648201" y="1774790"/>
          <a:ext cx="4337862" cy="36667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475849" y="1009846"/>
            <a:ext cx="1828800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dirty="0" smtClean="0"/>
              <a:t>LOGIN</a:t>
            </a:r>
            <a:endParaRPr lang="en-IN" dirty="0"/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5181600" y="1304793"/>
            <a:ext cx="943751" cy="591694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451014955"/>
              </p:ext>
            </p:extLst>
          </p:nvPr>
        </p:nvGraphicFramePr>
        <p:xfrm>
          <a:off x="230964" y="1937984"/>
          <a:ext cx="3096344" cy="23292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cxnSp>
        <p:nvCxnSpPr>
          <p:cNvPr id="16" name="Straight Arrow Connector 15"/>
          <p:cNvCxnSpPr/>
          <p:nvPr/>
        </p:nvCxnSpPr>
        <p:spPr>
          <a:xfrm flipH="1">
            <a:off x="2057400" y="1286412"/>
            <a:ext cx="1494746" cy="999588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/>
          <p:cNvGrpSpPr/>
          <p:nvPr/>
        </p:nvGrpSpPr>
        <p:grpSpPr>
          <a:xfrm>
            <a:off x="3590565" y="4157195"/>
            <a:ext cx="1883255" cy="748487"/>
            <a:chOff x="742881" y="0"/>
            <a:chExt cx="1883255" cy="748487"/>
          </a:xfrm>
        </p:grpSpPr>
        <p:sp>
          <p:nvSpPr>
            <p:cNvPr id="19" name="Oval 18"/>
            <p:cNvSpPr/>
            <p:nvPr/>
          </p:nvSpPr>
          <p:spPr>
            <a:xfrm>
              <a:off x="742881" y="0"/>
              <a:ext cx="1883255" cy="748487"/>
            </a:xfrm>
            <a:prstGeom prst="ellipse">
              <a:avLst/>
            </a:prstGeom>
          </p:spPr>
          <p:style>
            <a:lnRef idx="3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1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0" name="Oval 4"/>
            <p:cNvSpPr/>
            <p:nvPr/>
          </p:nvSpPr>
          <p:spPr>
            <a:xfrm>
              <a:off x="1018677" y="109613"/>
              <a:ext cx="1331663" cy="52926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700" tIns="12700" rIns="12700" bIns="127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2000" dirty="0" smtClean="0"/>
                <a:t>User</a:t>
              </a:r>
              <a:endParaRPr lang="en-IN" sz="2000" kern="1200" dirty="0"/>
            </a:p>
          </p:txBody>
        </p:sp>
      </p:grpSp>
      <p:sp>
        <p:nvSpPr>
          <p:cNvPr id="21" name="Left Arrow 20"/>
          <p:cNvSpPr/>
          <p:nvPr/>
        </p:nvSpPr>
        <p:spPr>
          <a:xfrm rot="1975453">
            <a:off x="5389085" y="4667311"/>
            <a:ext cx="601847" cy="322044"/>
          </a:xfrm>
          <a:prstGeom prst="leftArrow">
            <a:avLst>
              <a:gd name="adj1" fmla="val 60000"/>
              <a:gd name="adj2" fmla="val 50000"/>
            </a:avLst>
          </a:prstGeom>
        </p:spPr>
        <p:style>
          <a:lnRef idx="0">
            <a:schemeClr val="accent2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60000"/>
              <a:hueOff val="0"/>
              <a:satOff val="0"/>
              <a:lumOff val="0"/>
              <a:alphaOff val="0"/>
            </a:schemeClr>
          </a:fillRef>
          <a:effectRef idx="1">
            <a:schemeClr val="accent2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22" name="Group 21"/>
          <p:cNvGrpSpPr/>
          <p:nvPr/>
        </p:nvGrpSpPr>
        <p:grpSpPr>
          <a:xfrm>
            <a:off x="5638353" y="4970386"/>
            <a:ext cx="1909548" cy="682156"/>
            <a:chOff x="429556" y="1174173"/>
            <a:chExt cx="3416969" cy="707843"/>
          </a:xfrm>
        </p:grpSpPr>
        <p:sp>
          <p:nvSpPr>
            <p:cNvPr id="23" name="Rounded Rectangle 22"/>
            <p:cNvSpPr/>
            <p:nvPr/>
          </p:nvSpPr>
          <p:spPr>
            <a:xfrm>
              <a:off x="429556" y="1174173"/>
              <a:ext cx="3416969" cy="707843"/>
            </a:xfrm>
            <a:prstGeom prst="roundRect">
              <a:avLst>
                <a:gd name="adj" fmla="val 10000"/>
              </a:avLst>
            </a:prstGeom>
          </p:spPr>
          <p:style>
            <a:lnRef idx="3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1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4" name="Rounded Rectangle 4"/>
            <p:cNvSpPr/>
            <p:nvPr/>
          </p:nvSpPr>
          <p:spPr>
            <a:xfrm>
              <a:off x="450288" y="1194906"/>
              <a:ext cx="3375505" cy="66638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8100" tIns="38100" rIns="38100" bIns="381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2000" dirty="0" smtClean="0"/>
                <a:t>Cancel</a:t>
              </a:r>
              <a:endParaRPr lang="en-IN" sz="2000" kern="1200" dirty="0"/>
            </a:p>
          </p:txBody>
        </p:sp>
      </p:grpSp>
      <p:sp>
        <p:nvSpPr>
          <p:cNvPr id="25" name="Left Arrow 24"/>
          <p:cNvSpPr/>
          <p:nvPr/>
        </p:nvSpPr>
        <p:spPr>
          <a:xfrm rot="8360763">
            <a:off x="3242318" y="4793893"/>
            <a:ext cx="601847" cy="322044"/>
          </a:xfrm>
          <a:prstGeom prst="leftArrow">
            <a:avLst>
              <a:gd name="adj1" fmla="val 60000"/>
              <a:gd name="adj2" fmla="val 50000"/>
            </a:avLst>
          </a:prstGeom>
        </p:spPr>
        <p:style>
          <a:lnRef idx="0">
            <a:schemeClr val="accent2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60000"/>
              <a:hueOff val="0"/>
              <a:satOff val="0"/>
              <a:lumOff val="0"/>
              <a:alphaOff val="0"/>
            </a:schemeClr>
          </a:fillRef>
          <a:effectRef idx="1">
            <a:schemeClr val="accent2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26" name="Group 25"/>
          <p:cNvGrpSpPr/>
          <p:nvPr/>
        </p:nvGrpSpPr>
        <p:grpSpPr>
          <a:xfrm>
            <a:off x="2013482" y="5091305"/>
            <a:ext cx="1909548" cy="682156"/>
            <a:chOff x="429556" y="1174173"/>
            <a:chExt cx="3416969" cy="707843"/>
          </a:xfrm>
        </p:grpSpPr>
        <p:sp>
          <p:nvSpPr>
            <p:cNvPr id="27" name="Rounded Rectangle 26"/>
            <p:cNvSpPr/>
            <p:nvPr/>
          </p:nvSpPr>
          <p:spPr>
            <a:xfrm>
              <a:off x="429556" y="1174173"/>
              <a:ext cx="3416969" cy="707843"/>
            </a:xfrm>
            <a:prstGeom prst="roundRect">
              <a:avLst>
                <a:gd name="adj" fmla="val 10000"/>
              </a:avLst>
            </a:prstGeom>
          </p:spPr>
          <p:style>
            <a:lnRef idx="3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1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8" name="Rounded Rectangle 4"/>
            <p:cNvSpPr/>
            <p:nvPr/>
          </p:nvSpPr>
          <p:spPr>
            <a:xfrm>
              <a:off x="450288" y="1194905"/>
              <a:ext cx="3375505" cy="66637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8100" tIns="38100" rIns="38100" bIns="381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2000" dirty="0" smtClean="0"/>
                <a:t>Update</a:t>
              </a:r>
              <a:endParaRPr lang="en-IN" sz="2000" kern="1200" dirty="0"/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3780460" y="5860637"/>
            <a:ext cx="1909548" cy="682156"/>
            <a:chOff x="429556" y="1174173"/>
            <a:chExt cx="3416969" cy="707843"/>
          </a:xfrm>
        </p:grpSpPr>
        <p:sp>
          <p:nvSpPr>
            <p:cNvPr id="30" name="Rounded Rectangle 29"/>
            <p:cNvSpPr/>
            <p:nvPr/>
          </p:nvSpPr>
          <p:spPr>
            <a:xfrm>
              <a:off x="429556" y="1174173"/>
              <a:ext cx="3416969" cy="707843"/>
            </a:xfrm>
            <a:prstGeom prst="roundRect">
              <a:avLst>
                <a:gd name="adj" fmla="val 10000"/>
              </a:avLst>
            </a:prstGeom>
          </p:spPr>
          <p:style>
            <a:lnRef idx="3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1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1" name="Rounded Rectangle 4"/>
            <p:cNvSpPr/>
            <p:nvPr/>
          </p:nvSpPr>
          <p:spPr>
            <a:xfrm>
              <a:off x="450288" y="1194905"/>
              <a:ext cx="3375505" cy="66637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8100" tIns="38100" rIns="38100" bIns="381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2000" dirty="0" smtClean="0"/>
                <a:t>Request for a Flight</a:t>
              </a:r>
              <a:endParaRPr lang="en-IN" sz="2000" kern="1200" dirty="0"/>
            </a:p>
          </p:txBody>
        </p:sp>
      </p:grpSp>
      <p:sp>
        <p:nvSpPr>
          <p:cNvPr id="32" name="Left Arrow 31"/>
          <p:cNvSpPr/>
          <p:nvPr/>
        </p:nvSpPr>
        <p:spPr>
          <a:xfrm rot="5400000">
            <a:off x="4105743" y="5238006"/>
            <a:ext cx="922867" cy="275386"/>
          </a:xfrm>
          <a:prstGeom prst="leftArrow">
            <a:avLst>
              <a:gd name="adj1" fmla="val 60000"/>
              <a:gd name="adj2" fmla="val 50000"/>
            </a:avLst>
          </a:prstGeom>
        </p:spPr>
        <p:style>
          <a:lnRef idx="0">
            <a:schemeClr val="accent2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60000"/>
              <a:hueOff val="0"/>
              <a:satOff val="0"/>
              <a:lumOff val="0"/>
              <a:alphaOff val="0"/>
            </a:schemeClr>
          </a:fillRef>
          <a:effectRef idx="1">
            <a:schemeClr val="accent2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33" name="Group 32"/>
          <p:cNvGrpSpPr/>
          <p:nvPr/>
        </p:nvGrpSpPr>
        <p:grpSpPr>
          <a:xfrm>
            <a:off x="7037398" y="3102591"/>
            <a:ext cx="1909548" cy="682156"/>
            <a:chOff x="429556" y="1174173"/>
            <a:chExt cx="3416969" cy="707843"/>
          </a:xfrm>
        </p:grpSpPr>
        <p:sp>
          <p:nvSpPr>
            <p:cNvPr id="34" name="Rounded Rectangle 33"/>
            <p:cNvSpPr/>
            <p:nvPr/>
          </p:nvSpPr>
          <p:spPr>
            <a:xfrm>
              <a:off x="429556" y="1174173"/>
              <a:ext cx="3416969" cy="707843"/>
            </a:xfrm>
            <a:prstGeom prst="roundRect">
              <a:avLst>
                <a:gd name="adj" fmla="val 10000"/>
              </a:avLst>
            </a:prstGeom>
          </p:spPr>
          <p:style>
            <a:lnRef idx="3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1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5" name="Rounded Rectangle 4"/>
            <p:cNvSpPr/>
            <p:nvPr/>
          </p:nvSpPr>
          <p:spPr>
            <a:xfrm>
              <a:off x="450288" y="1194905"/>
              <a:ext cx="3375505" cy="66637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8100" tIns="38100" rIns="38100" bIns="381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2000" dirty="0" smtClean="0"/>
                <a:t>Update flight info</a:t>
              </a:r>
              <a:endParaRPr lang="en-IN" sz="2000" kern="1200" dirty="0"/>
            </a:p>
          </p:txBody>
        </p:sp>
      </p:grpSp>
      <p:sp>
        <p:nvSpPr>
          <p:cNvPr id="36" name="Left Arrow 35"/>
          <p:cNvSpPr/>
          <p:nvPr/>
        </p:nvSpPr>
        <p:spPr>
          <a:xfrm rot="2488239">
            <a:off x="7295984" y="2603861"/>
            <a:ext cx="778449" cy="387333"/>
          </a:xfrm>
          <a:prstGeom prst="leftArrow">
            <a:avLst>
              <a:gd name="adj1" fmla="val 60000"/>
              <a:gd name="adj2" fmla="val 50000"/>
            </a:avLst>
          </a:prstGeom>
        </p:spPr>
        <p:style>
          <a:lnRef idx="0">
            <a:schemeClr val="accent2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60000"/>
              <a:hueOff val="0"/>
              <a:satOff val="0"/>
              <a:lumOff val="0"/>
              <a:alphaOff val="0"/>
            </a:schemeClr>
          </a:fillRef>
          <a:effectRef idx="1">
            <a:schemeClr val="accent2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</p:spTree>
    <p:extLst>
      <p:ext uri="{BB962C8B-B14F-4D97-AF65-F5344CB8AC3E}">
        <p14:creationId xmlns:p14="http://schemas.microsoft.com/office/powerpoint/2010/main" val="324260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4800" y="228600"/>
            <a:ext cx="8229600" cy="4572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200" b="1" dirty="0" smtClean="0">
                <a:latin typeface="Bookman Old Style" panose="02050604050505020204" pitchFamily="18" charset="0"/>
                <a:cs typeface="Times New Roman" panose="02020603050405020304" pitchFamily="18" charset="0"/>
              </a:rPr>
              <a:t>Application link</a:t>
            </a:r>
            <a:endParaRPr lang="en-IN" sz="3200" b="1" dirty="0">
              <a:latin typeface="Bookman Old Style" panose="020506040505050202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23649" y="1090281"/>
            <a:ext cx="8305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u="sng" dirty="0">
                <a:hlinkClick r:id="rId2"/>
              </a:rPr>
              <a:t>http://ndafile:8081/AirlineReservationSystem/</a:t>
            </a:r>
            <a:endParaRPr lang="en-US" sz="24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676400"/>
            <a:ext cx="9160041" cy="495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544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FDR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b="0" dirty="0">
                <a:solidFill>
                  <a:schemeClr val="tx1"/>
                </a:solidFill>
              </a:rPr>
              <a:t>A defect is an error or a bug, in the application that causes it to produce an incorrect or unexpected </a:t>
            </a:r>
            <a:r>
              <a:rPr lang="en-US" sz="2000" b="0" dirty="0" smtClean="0">
                <a:solidFill>
                  <a:schemeClr val="tx1"/>
                </a:solidFill>
              </a:rPr>
              <a:t>results. </a:t>
            </a:r>
          </a:p>
          <a:p>
            <a:r>
              <a:rPr lang="en-US" sz="2000" b="0" dirty="0" smtClean="0">
                <a:solidFill>
                  <a:schemeClr val="tx1"/>
                </a:solidFill>
              </a:rPr>
              <a:t>A </a:t>
            </a:r>
            <a:r>
              <a:rPr lang="en-US" sz="2000" b="0" dirty="0">
                <a:solidFill>
                  <a:schemeClr val="tx1"/>
                </a:solidFill>
              </a:rPr>
              <a:t>programmer while </a:t>
            </a:r>
            <a:r>
              <a:rPr lang="en-US" sz="2000" b="0" dirty="0" smtClean="0">
                <a:solidFill>
                  <a:schemeClr val="tx1"/>
                </a:solidFill>
              </a:rPr>
              <a:t>designing and </a:t>
            </a:r>
            <a:r>
              <a:rPr lang="en-US" sz="2000" b="0" dirty="0">
                <a:solidFill>
                  <a:schemeClr val="tx1"/>
                </a:solidFill>
              </a:rPr>
              <a:t>building the software can make mistake or error</a:t>
            </a:r>
            <a:r>
              <a:rPr lang="en-US" sz="20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000" b="0" dirty="0">
                <a:solidFill>
                  <a:schemeClr val="tx1"/>
                </a:solidFill>
              </a:rPr>
              <a:t>These mistakes or errors mean that there are flaws in the software, these are called defects and the report written for logging these defects is called a defect report</a:t>
            </a:r>
            <a:r>
              <a:rPr lang="en-US" sz="2000" b="0" dirty="0" smtClean="0">
                <a:solidFill>
                  <a:schemeClr val="tx1"/>
                </a:solidFill>
              </a:rPr>
              <a:t>.</a:t>
            </a: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</a:rPr>
              <a:t>LINK:	</a:t>
            </a:r>
            <a:r>
              <a:rPr lang="en-US" sz="2400" dirty="0" smtClean="0">
                <a:solidFill>
                  <a:schemeClr val="tx1"/>
                </a:solidFill>
                <a:hlinkClick r:id="rId2" action="ppaction://hlinkfile"/>
              </a:rPr>
              <a:t>Defect Report(ARS).xlsx</a:t>
            </a:r>
            <a:endParaRPr lang="en-US" sz="2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9788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FECTS FOUND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830763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</a:t>
            </a:r>
            <a:r>
              <a:rPr lang="en-US" b="0" dirty="0" smtClean="0">
                <a:solidFill>
                  <a:schemeClr val="tx1"/>
                </a:solidFill>
              </a:rPr>
              <a:t>allow the executive to view the flight occupancy detail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The </a:t>
            </a:r>
            <a:r>
              <a:rPr lang="en-US" b="0" dirty="0">
                <a:solidFill>
                  <a:schemeClr val="tx1"/>
                </a:solidFill>
              </a:rPr>
              <a:t>system does not display appropriate </a:t>
            </a:r>
            <a:r>
              <a:rPr lang="en-US" b="0" dirty="0" smtClean="0">
                <a:solidFill>
                  <a:schemeClr val="tx1"/>
                </a:solidFill>
              </a:rPr>
              <a:t>error message when there is no available flights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Some of the links present in all the pages is not navigating the user to proper web page</a:t>
            </a:r>
            <a:endParaRPr lang="en-US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b="0" smtClean="0">
                <a:solidFill>
                  <a:schemeClr val="tx1"/>
                </a:solidFill>
              </a:rPr>
              <a:t>The </a:t>
            </a:r>
            <a:r>
              <a:rPr lang="en-US" b="0" dirty="0">
                <a:solidFill>
                  <a:schemeClr val="tx1"/>
                </a:solidFill>
              </a:rPr>
              <a:t>system does not </a:t>
            </a:r>
            <a:r>
              <a:rPr lang="en-US" b="0" dirty="0" smtClean="0">
                <a:solidFill>
                  <a:schemeClr val="tx1"/>
                </a:solidFill>
              </a:rPr>
              <a:t>able to view the reservation details, update and cancel the booking.</a:t>
            </a: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7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609600" y="1447800"/>
            <a:ext cx="76200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Executive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176125980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/>
              <a:t>DEFECTS FOUND</a:t>
            </a:r>
            <a:endParaRPr lang="en-US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05000"/>
            <a:ext cx="8229600" cy="4221163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</a:t>
            </a:r>
            <a:r>
              <a:rPr lang="en-US" b="0" dirty="0" smtClean="0">
                <a:solidFill>
                  <a:schemeClr val="tx1"/>
                </a:solidFill>
              </a:rPr>
              <a:t> displays  error message as “invalid credentials” on entering  username and  password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23900" y="1213148"/>
            <a:ext cx="76962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Admin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207319288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Adequacy 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</a:rPr>
              <a:t>This defines the number of actual test cases created vs estimated test cases at the end of test case preparation phase. It is calculated </a:t>
            </a:r>
            <a:r>
              <a:rPr lang="en-US" sz="2400" b="0" dirty="0" smtClean="0">
                <a:solidFill>
                  <a:schemeClr val="tx1"/>
                </a:solidFill>
              </a:rPr>
              <a:t>as</a:t>
            </a:r>
            <a:endParaRPr lang="en-US" sz="2400" dirty="0"/>
          </a:p>
          <a:p>
            <a:pPr marL="0" indent="0">
              <a:buNone/>
            </a:pPr>
            <a:r>
              <a:rPr lang="en-US" sz="2400" b="0" dirty="0"/>
              <a:t/>
            </a:r>
            <a:br>
              <a:rPr lang="en-US" sz="2400" b="0" dirty="0"/>
            </a:b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est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ase Adequacy = No. of  actual Test cases*100/No.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stimated Test cases estimated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	=(72*100)/85</a:t>
            </a:r>
          </a:p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=84.7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706512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AM MEMBERS</a:t>
            </a:r>
            <a:endParaRPr lang="en-IN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+mj-lt"/>
              <a:buAutoNum type="arabicPeriod"/>
            </a:pPr>
            <a:r>
              <a:rPr lang="en-IN" dirty="0" smtClean="0">
                <a:solidFill>
                  <a:srgbClr val="00B0F0"/>
                </a:solidFill>
              </a:rPr>
              <a:t>Prasanthi Thota</a:t>
            </a:r>
            <a:r>
              <a:rPr lang="en-IN" dirty="0">
                <a:solidFill>
                  <a:srgbClr val="00B0F0"/>
                </a:solidFill>
              </a:rPr>
              <a:t>	</a:t>
            </a:r>
            <a:r>
              <a:rPr lang="en-IN" dirty="0" smtClean="0">
                <a:solidFill>
                  <a:srgbClr val="00B0F0"/>
                </a:solidFill>
              </a:rPr>
              <a:t>150736</a:t>
            </a:r>
          </a:p>
          <a:p>
            <a:pPr>
              <a:buFont typeface="+mj-lt"/>
              <a:buAutoNum type="arabicPeriod"/>
            </a:pPr>
            <a:r>
              <a:rPr lang="en-IN" dirty="0" err="1" smtClean="0">
                <a:solidFill>
                  <a:srgbClr val="00B0F0"/>
                </a:solidFill>
              </a:rPr>
              <a:t>Repaka</a:t>
            </a:r>
            <a:r>
              <a:rPr lang="en-IN" dirty="0" smtClean="0">
                <a:solidFill>
                  <a:srgbClr val="00B0F0"/>
                </a:solidFill>
              </a:rPr>
              <a:t> </a:t>
            </a:r>
            <a:r>
              <a:rPr lang="en-IN" dirty="0" err="1" smtClean="0">
                <a:solidFill>
                  <a:srgbClr val="00B0F0"/>
                </a:solidFill>
              </a:rPr>
              <a:t>Srujala</a:t>
            </a:r>
            <a:r>
              <a:rPr lang="en-IN" dirty="0" smtClean="0">
                <a:solidFill>
                  <a:srgbClr val="00B0F0"/>
                </a:solidFill>
              </a:rPr>
              <a:t>		150735</a:t>
            </a:r>
          </a:p>
          <a:p>
            <a:pPr>
              <a:buFont typeface="+mj-lt"/>
              <a:buAutoNum type="arabicPeriod"/>
            </a:pPr>
            <a:r>
              <a:rPr lang="en-IN" dirty="0" err="1" smtClean="0">
                <a:solidFill>
                  <a:srgbClr val="00B0F0"/>
                </a:solidFill>
              </a:rPr>
              <a:t>Kamidi</a:t>
            </a:r>
            <a:r>
              <a:rPr lang="en-IN" dirty="0" smtClean="0">
                <a:solidFill>
                  <a:srgbClr val="00B0F0"/>
                </a:solidFill>
              </a:rPr>
              <a:t> </a:t>
            </a:r>
            <a:r>
              <a:rPr lang="en-IN" dirty="0" err="1" smtClean="0">
                <a:solidFill>
                  <a:srgbClr val="00B0F0"/>
                </a:solidFill>
              </a:rPr>
              <a:t>Mahender</a:t>
            </a:r>
            <a:r>
              <a:rPr lang="en-IN" dirty="0" smtClean="0">
                <a:solidFill>
                  <a:srgbClr val="00B0F0"/>
                </a:solidFill>
              </a:rPr>
              <a:t>	150935</a:t>
            </a:r>
            <a:endParaRPr lang="en-IN" dirty="0">
              <a:solidFill>
                <a:srgbClr val="00B0F0"/>
              </a:solidFill>
            </a:endParaRPr>
          </a:p>
          <a:p>
            <a:pPr>
              <a:buFont typeface="+mj-lt"/>
              <a:buAutoNum type="arabicPeriod"/>
            </a:pPr>
            <a:r>
              <a:rPr lang="en-IN" dirty="0" smtClean="0">
                <a:solidFill>
                  <a:srgbClr val="00B0F0"/>
                </a:solidFill>
              </a:rPr>
              <a:t>B, </a:t>
            </a:r>
            <a:r>
              <a:rPr lang="en-IN" dirty="0" err="1" smtClean="0">
                <a:solidFill>
                  <a:srgbClr val="00B0F0"/>
                </a:solidFill>
              </a:rPr>
              <a:t>Sabareeshwari</a:t>
            </a:r>
            <a:r>
              <a:rPr lang="en-IN" dirty="0" smtClean="0">
                <a:solidFill>
                  <a:srgbClr val="00B0F0"/>
                </a:solidFill>
              </a:rPr>
              <a:t>	150737</a:t>
            </a:r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Effectivenes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/>
          </a:bodyPr>
          <a:lstStyle/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his metrics defines the effectiveness of the test cases which is measured in terms of the number of defects found in testing with using the test cases.</a:t>
            </a:r>
          </a:p>
          <a:p>
            <a:pPr algn="l"/>
            <a:endParaRPr lang="en-US" sz="2400" b="0" dirty="0">
              <a:solidFill>
                <a:schemeClr val="tx1"/>
              </a:solidFill>
              <a:cs typeface="Times New Roman" pitchFamily="18" charset="0"/>
            </a:endParaRPr>
          </a:p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 Effectiveness =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No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. of defects detected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using 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s*100)/total no of defects detected in testing</a:t>
            </a:r>
          </a:p>
          <a:p>
            <a:pPr lvl="2" algn="l"/>
            <a:r>
              <a:rPr lang="en-US" sz="1800" dirty="0">
                <a:solidFill>
                  <a:schemeClr val="tx1"/>
                </a:solidFill>
              </a:rPr>
              <a:t>	</a:t>
            </a:r>
            <a:r>
              <a:rPr lang="en-US" sz="1800" dirty="0" smtClean="0">
                <a:solidFill>
                  <a:schemeClr val="tx1"/>
                </a:solidFill>
              </a:rPr>
              <a:t>=(20*100)/26</a:t>
            </a:r>
          </a:p>
          <a:p>
            <a:pPr lvl="2" algn="l"/>
            <a:r>
              <a:rPr lang="en-US" sz="1800" b="0" dirty="0">
                <a:solidFill>
                  <a:schemeClr val="tx1"/>
                </a:solidFill>
              </a:rPr>
              <a:t>	</a:t>
            </a:r>
            <a:r>
              <a:rPr lang="en-US" sz="1800" b="0" dirty="0" smtClean="0">
                <a:solidFill>
                  <a:schemeClr val="tx1"/>
                </a:solidFill>
              </a:rPr>
              <a:t>=76.9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4692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762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Project Statistic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7782" y="1828800"/>
            <a:ext cx="82296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			= 72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Passed		= 23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Failed		= 49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fects Logged		= 20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Use Cases			= 1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61043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aceability Matrix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801" y="1252232"/>
            <a:ext cx="8610600" cy="5148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965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2183878" y="2514600"/>
            <a:ext cx="4776244" cy="120032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72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Bar dir="vert"/>
      </p:transition>
    </mc:Choice>
    <mc:Fallback xmlns="">
      <p:transition spd="slow">
        <p:randomBar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ENTS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OVERVIEW 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>
                <a:solidFill>
                  <a:schemeClr val="tx1"/>
                </a:solidFill>
              </a:rPr>
              <a:t>REQUIREMENT ITEMIZATION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>
                <a:solidFill>
                  <a:schemeClr val="tx1"/>
                </a:solidFill>
              </a:rPr>
              <a:t>USE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CTOR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PPLICATION LINK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ADEQUACY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EFFECTIVENES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PROJECT STATISTIC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RACEABALITY MATRIX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 smtClean="0"/>
          </a:p>
          <a:p>
            <a:pPr lvl="1">
              <a:buFont typeface="Wingdings" panose="05000000000000000000" pitchFamily="2" charset="2"/>
              <a:buChar char="q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0672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351" y="68264"/>
            <a:ext cx="8229600" cy="792162"/>
          </a:xfrm>
        </p:spPr>
        <p:txBody>
          <a:bodyPr/>
          <a:lstStyle/>
          <a:p>
            <a:pPr algn="ctr"/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VERVIEW OF THE PROJECT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918" y="1447800"/>
            <a:ext cx="8229600" cy="4525963"/>
          </a:xfrm>
        </p:spPr>
        <p:txBody>
          <a:bodyPr>
            <a:noAutofit/>
          </a:bodyPr>
          <a:lstStyle/>
          <a:p>
            <a:pPr marL="0" indent="0" algn="just">
              <a:lnSpc>
                <a:spcPct val="150000"/>
              </a:lnSpc>
              <a:buNone/>
            </a:pPr>
            <a:r>
              <a:rPr lang="en-US" sz="2400" b="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is project is aimed at developing an online Airline Reservation System (ARS) for customers. This is a web based application that can be accessed throughout the web. This system can be used to search flight details, reserve flight, and update/cancel any reservation. This is an integrated system that contains both the user component and the administration component. </a:t>
            </a:r>
            <a:endParaRPr lang="en-US" sz="2400" b="0" dirty="0" smtClean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638948" y="362977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s Validation And Functional Decomposition</a:t>
            </a:r>
            <a:endParaRPr lang="en-IN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869207828"/>
              </p:ext>
            </p:extLst>
          </p:nvPr>
        </p:nvGraphicFramePr>
        <p:xfrm>
          <a:off x="4648200" y="1066799"/>
          <a:ext cx="1905000" cy="12458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431537518"/>
              </p:ext>
            </p:extLst>
          </p:nvPr>
        </p:nvGraphicFramePr>
        <p:xfrm>
          <a:off x="762000" y="4953000"/>
          <a:ext cx="2209800" cy="152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552712535"/>
              </p:ext>
            </p:extLst>
          </p:nvPr>
        </p:nvGraphicFramePr>
        <p:xfrm>
          <a:off x="3581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416433548"/>
              </p:ext>
            </p:extLst>
          </p:nvPr>
        </p:nvGraphicFramePr>
        <p:xfrm>
          <a:off x="304800" y="35211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249288730"/>
              </p:ext>
            </p:extLst>
          </p:nvPr>
        </p:nvGraphicFramePr>
        <p:xfrm>
          <a:off x="3048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444857622"/>
              </p:ext>
            </p:extLst>
          </p:nvPr>
        </p:nvGraphicFramePr>
        <p:xfrm>
          <a:off x="2400300" y="1066800"/>
          <a:ext cx="1905000" cy="106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684257087"/>
              </p:ext>
            </p:extLst>
          </p:nvPr>
        </p:nvGraphicFramePr>
        <p:xfrm>
          <a:off x="68580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619113940"/>
              </p:ext>
            </p:extLst>
          </p:nvPr>
        </p:nvGraphicFramePr>
        <p:xfrm>
          <a:off x="6858000" y="3439235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" r:lo="rId39" r:qs="rId40" r:cs="rId41"/>
          </a:graphicData>
        </a:graphic>
      </p:graphicFrame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2164186853"/>
              </p:ext>
            </p:extLst>
          </p:nvPr>
        </p:nvGraphicFramePr>
        <p:xfrm>
          <a:off x="6248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3" r:lo="rId44" r:qs="rId45" r:cs="rId46"/>
          </a:graphicData>
        </a:graphic>
      </p:graphicFrame>
      <p:sp>
        <p:nvSpPr>
          <p:cNvPr id="14" name="Oval 13"/>
          <p:cNvSpPr/>
          <p:nvPr/>
        </p:nvSpPr>
        <p:spPr>
          <a:xfrm>
            <a:off x="3599597" y="2655058"/>
            <a:ext cx="1447800" cy="152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VFD</a:t>
            </a:r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4518334" y="2017594"/>
            <a:ext cx="240469" cy="7415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V="1">
            <a:off x="4933097" y="2523220"/>
            <a:ext cx="1313597" cy="4909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4" idx="6"/>
          </p:cNvCxnSpPr>
          <p:nvPr/>
        </p:nvCxnSpPr>
        <p:spPr>
          <a:xfrm>
            <a:off x="5047397" y="3417058"/>
            <a:ext cx="1714500" cy="1040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4938073" y="3796442"/>
            <a:ext cx="1310327" cy="10200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14" idx="4"/>
          </p:cNvCxnSpPr>
          <p:nvPr/>
        </p:nvCxnSpPr>
        <p:spPr>
          <a:xfrm>
            <a:off x="4323497" y="4179058"/>
            <a:ext cx="0" cy="9263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 flipH="1">
            <a:off x="2684380" y="4023815"/>
            <a:ext cx="1184441" cy="10184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flipH="1">
            <a:off x="2271109" y="3521122"/>
            <a:ext cx="1310291" cy="2753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 flipV="1">
            <a:off x="2400301" y="2655059"/>
            <a:ext cx="1266398" cy="4334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 flipH="1" flipV="1">
            <a:off x="3647650" y="2178808"/>
            <a:ext cx="372753" cy="537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70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  ITEMIZATION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 smtClean="0">
                <a:solidFill>
                  <a:schemeClr val="tx1"/>
                </a:solidFill>
              </a:rPr>
              <a:t>Requirements </a:t>
            </a:r>
            <a:r>
              <a:rPr lang="en-US" sz="2400" b="0" dirty="0">
                <a:solidFill>
                  <a:schemeClr val="tx1"/>
                </a:solidFill>
              </a:rPr>
              <a:t>validation is an iterative process which takes place throughout the lifecycle of the project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During elicitation, analysis and specification you should constantly be questioning and clarifying the data given to you in order to check its validit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is will ensure that the SRS that you produce is complete, consistent </a:t>
            </a:r>
            <a:r>
              <a:rPr lang="en-US" sz="2400" b="0" dirty="0" smtClean="0">
                <a:solidFill>
                  <a:schemeClr val="tx1"/>
                </a:solidFill>
              </a:rPr>
              <a:t>and </a:t>
            </a:r>
            <a:r>
              <a:rPr lang="en-US" sz="2400" b="0" dirty="0">
                <a:solidFill>
                  <a:schemeClr val="tx1"/>
                </a:solidFill>
              </a:rPr>
              <a:t>ready for the formal validation proces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endParaRPr lang="en-US" sz="2400" b="0" dirty="0" smtClean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Bookman Old Style" panose="02050604050505020204" pitchFamily="18" charset="0"/>
              </a:rPr>
              <a:t>LINK: </a:t>
            </a:r>
            <a:r>
              <a:rPr lang="en-US" sz="2400" dirty="0" smtClean="0">
                <a:solidFill>
                  <a:schemeClr val="tx1"/>
                </a:solidFill>
                <a:latin typeface="Bookman Old Style" panose="02050604050505020204" pitchFamily="18" charset="0"/>
                <a:hlinkClick r:id="rId2" action="ppaction://hlinkfile"/>
              </a:rPr>
              <a:t>RVFD  (ARS).xlsx</a:t>
            </a:r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15355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0" dirty="0">
                <a:solidFill>
                  <a:schemeClr val="tx1"/>
                </a:solidFill>
              </a:rPr>
              <a:t>A use case is a methodology used in system analysis to identify, clarify, and organize system requirement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r>
              <a:rPr lang="en-US" sz="2400" b="0" dirty="0">
                <a:solidFill>
                  <a:schemeClr val="tx1"/>
                </a:solidFill>
              </a:rPr>
              <a:t>The use case is made up of a set of possible sequences of interactions between systems and users in a particular environment and related to a particular goal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A use case can be thought of as a collection of possible scenarios related to a particular goal, indeed, the use case and goal are sometimes considered to be synonymous.</a:t>
            </a:r>
          </a:p>
        </p:txBody>
      </p:sp>
      <p:sp>
        <p:nvSpPr>
          <p:cNvPr id="4" name="Rectangle 3"/>
          <p:cNvSpPr/>
          <p:nvPr/>
        </p:nvSpPr>
        <p:spPr>
          <a:xfrm>
            <a:off x="990600" y="5486399"/>
            <a:ext cx="3429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latin typeface="Bookman Old Style" panose="02050604050505020204" pitchFamily="18" charset="0"/>
              </a:rPr>
              <a:t>LINK: </a:t>
            </a:r>
            <a:r>
              <a:rPr lang="en-US" b="1" dirty="0" smtClean="0">
                <a:latin typeface="Bookman Old Style" panose="02050604050505020204" pitchFamily="18" charset="0"/>
                <a:hlinkClick r:id="rId2" action="ppaction://hlinkfile"/>
              </a:rPr>
              <a:t>Use Case(ARS).docx</a:t>
            </a:r>
            <a:endParaRPr lang="en-US" dirty="0"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999630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CTO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z="3600" dirty="0">
                <a:solidFill>
                  <a:schemeClr val="accent1">
                    <a:lumMod val="75000"/>
                  </a:schemeClr>
                </a:solidFill>
              </a:rPr>
              <a:t>Customer </a:t>
            </a:r>
          </a:p>
          <a:p>
            <a:pPr lvl="0"/>
            <a:r>
              <a:rPr lang="en-US" sz="3600" dirty="0">
                <a:solidFill>
                  <a:schemeClr val="accent1">
                    <a:lumMod val="75000"/>
                  </a:schemeClr>
                </a:solidFill>
              </a:rPr>
              <a:t>Airline Executive</a:t>
            </a:r>
          </a:p>
          <a:p>
            <a:pPr lvl="0"/>
            <a:r>
              <a:rPr lang="en-US" sz="3600" dirty="0">
                <a:solidFill>
                  <a:schemeClr val="accent1">
                    <a:lumMod val="75000"/>
                  </a:schemeClr>
                </a:solidFill>
              </a:rPr>
              <a:t>Administrator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0174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CASE DIAGRAM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Content Placeholder 4" descr="C:\Users\prasatho\Documents\My Received Files\Customer.jpg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337" y="1905000"/>
            <a:ext cx="6791325" cy="3348831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5"/>
          <p:cNvSpPr/>
          <p:nvPr/>
        </p:nvSpPr>
        <p:spPr>
          <a:xfrm>
            <a:off x="1176336" y="1164866"/>
            <a:ext cx="2176463" cy="4676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2400" b="1" cap="small" dirty="0">
                <a:solidFill>
                  <a:srgbClr val="00B0F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ustomer</a:t>
            </a:r>
            <a:endParaRPr lang="en-US" sz="2400" dirty="0">
              <a:solidFill>
                <a:srgbClr val="00B0F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17069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47</TotalTime>
  <Words>680</Words>
  <Application>Microsoft Office PowerPoint</Application>
  <PresentationFormat>On-screen Show (4:3)</PresentationFormat>
  <Paragraphs>136</Paragraphs>
  <Slides>23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3</vt:i4>
      </vt:variant>
    </vt:vector>
  </HeadingPairs>
  <TitlesOfParts>
    <vt:vector size="36" baseType="lpstr">
      <vt:lpstr>ＭＳ Ｐゴシック</vt:lpstr>
      <vt:lpstr>Arial</vt:lpstr>
      <vt:lpstr>Bookman Old Style</vt:lpstr>
      <vt:lpstr>Calibri</vt:lpstr>
      <vt:lpstr>Calibri Light</vt:lpstr>
      <vt:lpstr>Candara</vt:lpstr>
      <vt:lpstr>Century Gothic</vt:lpstr>
      <vt:lpstr>Courier New</vt:lpstr>
      <vt:lpstr>Palatino Linotype</vt:lpstr>
      <vt:lpstr>Times New Roman</vt:lpstr>
      <vt:lpstr>Wingdings</vt:lpstr>
      <vt:lpstr>Executive</vt:lpstr>
      <vt:lpstr>Office Theme</vt:lpstr>
      <vt:lpstr>PowerPoint Presentation</vt:lpstr>
      <vt:lpstr>TEAM MEMBERS</vt:lpstr>
      <vt:lpstr>CONTENTS</vt:lpstr>
      <vt:lpstr>OVERVIEW OF THE PROJECT</vt:lpstr>
      <vt:lpstr>PowerPoint Presentation</vt:lpstr>
      <vt:lpstr>REQUIREMENT  ITEMIZATION</vt:lpstr>
      <vt:lpstr>USE CASES</vt:lpstr>
      <vt:lpstr>ACTORS</vt:lpstr>
      <vt:lpstr>USE CASE DIAGRAM</vt:lpstr>
      <vt:lpstr>USE CASE DIAGRAM</vt:lpstr>
      <vt:lpstr>USE CASE DIAGRAM</vt:lpstr>
      <vt:lpstr>USE CASE HYPERLINKS</vt:lpstr>
      <vt:lpstr>PowerPoint Presentation</vt:lpstr>
      <vt:lpstr>Link : TestCase(ARS).xlsx</vt:lpstr>
      <vt:lpstr>PowerPoint Presentation</vt:lpstr>
      <vt:lpstr>DFDR</vt:lpstr>
      <vt:lpstr>DEFECTS FOUND</vt:lpstr>
      <vt:lpstr>DEFECTS FOUND</vt:lpstr>
      <vt:lpstr>Test Case Adequacy </vt:lpstr>
      <vt:lpstr>Test Case Effectiveness</vt:lpstr>
      <vt:lpstr>Project Statistics</vt:lpstr>
      <vt:lpstr>Traceability Matrix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Thota, Prasanthi</cp:lastModifiedBy>
  <cp:revision>164</cp:revision>
  <dcterms:created xsi:type="dcterms:W3CDTF">2015-08-27T08:52:20Z</dcterms:created>
  <dcterms:modified xsi:type="dcterms:W3CDTF">2018-07-23T04:50:30Z</dcterms:modified>
</cp:coreProperties>
</file>